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71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61.xml" ContentType="application/vnd.openxmlformats-officedocument.presentationml.tags+xml"/>
  <Override PartName="/ppt/notesSlides/notesSlide7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36" r:id="rId7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71.xml" Id="rId74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75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71.xml.rels>&#65279;<?xml version="1.0" encoding="utf-8"?><Relationships xmlns="http://schemas.openxmlformats.org/package/2006/relationships"><Relationship Type="http://schemas.openxmlformats.org/officeDocument/2006/relationships/slide" Target="/ppt/slides/slide71.xml" Id="rId2" /><Relationship Type="http://schemas.openxmlformats.org/officeDocument/2006/relationships/notesMaster" Target="/ppt/notesMasters/notesMaster1.xml" Id="rId1" /></Relationship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80161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71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61.xml" Id="rId2" /><Relationship Type="http://schemas.openxmlformats.org/officeDocument/2006/relationships/vmlDrawing" Target="/ppt/drawings/vmlDrawing75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75.bin" Id="rId5" /><Relationship Type="http://schemas.openxmlformats.org/officeDocument/2006/relationships/notesSlide" Target="/ppt/notesSlides/notesSlide71.xml" Id="rId4" /></Relationships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6F0445C-2CC1-6756-AA8F-63DFFE2FB2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0145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0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F0445C-2CC1-6756-AA8F-63DFFE2FB2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3661313" y="1478280"/>
            <a:ext cx="4869372" cy="4593428"/>
            <a:chOff x="12898882" y="3276918"/>
            <a:chExt cx="8617983" cy="8129602"/>
          </a:xfrm>
          <a:solidFill>
            <a:schemeClr val="bg2"/>
          </a:solidFill>
        </p:grpSpPr>
        <p:sp>
          <p:nvSpPr>
            <p:cNvPr id="8" name="Freeform 7"/>
            <p:cNvSpPr>
              <a:spLocks noChangeArrowheads="1"/>
            </p:cNvSpPr>
            <p:nvPr/>
          </p:nvSpPr>
          <p:spPr bwMode="auto">
            <a:xfrm>
              <a:off x="12898882" y="4054954"/>
              <a:ext cx="3404901" cy="5007758"/>
            </a:xfrm>
            <a:custGeom>
              <a:avLst/>
              <a:gdLst>
                <a:gd name="T0" fmla="*/ 7481 w 7738"/>
                <a:gd name="T1" fmla="*/ 599 h 11380"/>
                <a:gd name="T2" fmla="*/ 7405 w 7738"/>
                <a:gd name="T3" fmla="*/ 652 h 11380"/>
                <a:gd name="T4" fmla="*/ 7259 w 7738"/>
                <a:gd name="T5" fmla="*/ 785 h 11380"/>
                <a:gd name="T6" fmla="*/ 7155 w 7738"/>
                <a:gd name="T7" fmla="*/ 337 h 11380"/>
                <a:gd name="T8" fmla="*/ 6858 w 7738"/>
                <a:gd name="T9" fmla="*/ 104 h 11380"/>
                <a:gd name="T10" fmla="*/ 6654 w 7738"/>
                <a:gd name="T11" fmla="*/ 116 h 11380"/>
                <a:gd name="T12" fmla="*/ 6392 w 7738"/>
                <a:gd name="T13" fmla="*/ 250 h 11380"/>
                <a:gd name="T14" fmla="*/ 6235 w 7738"/>
                <a:gd name="T15" fmla="*/ 436 h 11380"/>
                <a:gd name="T16" fmla="*/ 6072 w 7738"/>
                <a:gd name="T17" fmla="*/ 407 h 11380"/>
                <a:gd name="T18" fmla="*/ 5880 w 7738"/>
                <a:gd name="T19" fmla="*/ 494 h 11380"/>
                <a:gd name="T20" fmla="*/ 5979 w 7738"/>
                <a:gd name="T21" fmla="*/ 622 h 11380"/>
                <a:gd name="T22" fmla="*/ 5810 w 7738"/>
                <a:gd name="T23" fmla="*/ 687 h 11380"/>
                <a:gd name="T24" fmla="*/ 5845 w 7738"/>
                <a:gd name="T25" fmla="*/ 756 h 11380"/>
                <a:gd name="T26" fmla="*/ 5711 w 7738"/>
                <a:gd name="T27" fmla="*/ 797 h 11380"/>
                <a:gd name="T28" fmla="*/ 5530 w 7738"/>
                <a:gd name="T29" fmla="*/ 925 h 11380"/>
                <a:gd name="T30" fmla="*/ 5676 w 7738"/>
                <a:gd name="T31" fmla="*/ 1013 h 11380"/>
                <a:gd name="T32" fmla="*/ 5513 w 7738"/>
                <a:gd name="T33" fmla="*/ 1274 h 11380"/>
                <a:gd name="T34" fmla="*/ 5524 w 7738"/>
                <a:gd name="T35" fmla="*/ 1350 h 11380"/>
                <a:gd name="T36" fmla="*/ 5315 w 7738"/>
                <a:gd name="T37" fmla="*/ 1309 h 11380"/>
                <a:gd name="T38" fmla="*/ 5158 w 7738"/>
                <a:gd name="T39" fmla="*/ 1211 h 11380"/>
                <a:gd name="T40" fmla="*/ 5134 w 7738"/>
                <a:gd name="T41" fmla="*/ 1350 h 11380"/>
                <a:gd name="T42" fmla="*/ 5222 w 7738"/>
                <a:gd name="T43" fmla="*/ 1600 h 11380"/>
                <a:gd name="T44" fmla="*/ 5164 w 7738"/>
                <a:gd name="T45" fmla="*/ 1746 h 11380"/>
                <a:gd name="T46" fmla="*/ 4977 w 7738"/>
                <a:gd name="T47" fmla="*/ 1665 h 11380"/>
                <a:gd name="T48" fmla="*/ 4832 w 7738"/>
                <a:gd name="T49" fmla="*/ 1333 h 11380"/>
                <a:gd name="T50" fmla="*/ 4622 w 7738"/>
                <a:gd name="T51" fmla="*/ 1502 h 11380"/>
                <a:gd name="T52" fmla="*/ 4552 w 7738"/>
                <a:gd name="T53" fmla="*/ 2130 h 11380"/>
                <a:gd name="T54" fmla="*/ 4191 w 7738"/>
                <a:gd name="T55" fmla="*/ 2520 h 11380"/>
                <a:gd name="T56" fmla="*/ 3010 w 7738"/>
                <a:gd name="T57" fmla="*/ 3126 h 11380"/>
                <a:gd name="T58" fmla="*/ 2433 w 7738"/>
                <a:gd name="T59" fmla="*/ 3376 h 11380"/>
                <a:gd name="T60" fmla="*/ 1607 w 7738"/>
                <a:gd name="T61" fmla="*/ 3603 h 11380"/>
                <a:gd name="T62" fmla="*/ 844 w 7738"/>
                <a:gd name="T63" fmla="*/ 4075 h 11380"/>
                <a:gd name="T64" fmla="*/ 593 w 7738"/>
                <a:gd name="T65" fmla="*/ 4342 h 11380"/>
                <a:gd name="T66" fmla="*/ 442 w 7738"/>
                <a:gd name="T67" fmla="*/ 4278 h 11380"/>
                <a:gd name="T68" fmla="*/ 233 w 7738"/>
                <a:gd name="T69" fmla="*/ 5379 h 11380"/>
                <a:gd name="T70" fmla="*/ 646 w 7738"/>
                <a:gd name="T71" fmla="*/ 6246 h 11380"/>
                <a:gd name="T72" fmla="*/ 512 w 7738"/>
                <a:gd name="T73" fmla="*/ 6444 h 11380"/>
                <a:gd name="T74" fmla="*/ 250 w 7738"/>
                <a:gd name="T75" fmla="*/ 6060 h 11380"/>
                <a:gd name="T76" fmla="*/ 436 w 7738"/>
                <a:gd name="T77" fmla="*/ 6595 h 11380"/>
                <a:gd name="T78" fmla="*/ 233 w 7738"/>
                <a:gd name="T79" fmla="*/ 6392 h 11380"/>
                <a:gd name="T80" fmla="*/ 180 w 7738"/>
                <a:gd name="T81" fmla="*/ 6461 h 11380"/>
                <a:gd name="T82" fmla="*/ 576 w 7738"/>
                <a:gd name="T83" fmla="*/ 7276 h 11380"/>
                <a:gd name="T84" fmla="*/ 995 w 7738"/>
                <a:gd name="T85" fmla="*/ 8207 h 11380"/>
                <a:gd name="T86" fmla="*/ 1281 w 7738"/>
                <a:gd name="T87" fmla="*/ 9295 h 11380"/>
                <a:gd name="T88" fmla="*/ 1345 w 7738"/>
                <a:gd name="T89" fmla="*/ 9872 h 11380"/>
                <a:gd name="T90" fmla="*/ 1013 w 7738"/>
                <a:gd name="T91" fmla="*/ 10518 h 11380"/>
                <a:gd name="T92" fmla="*/ 1461 w 7738"/>
                <a:gd name="T93" fmla="*/ 11158 h 11380"/>
                <a:gd name="T94" fmla="*/ 2014 w 7738"/>
                <a:gd name="T95" fmla="*/ 11327 h 11380"/>
                <a:gd name="T96" fmla="*/ 2305 w 7738"/>
                <a:gd name="T97" fmla="*/ 11333 h 11380"/>
                <a:gd name="T98" fmla="*/ 2817 w 7738"/>
                <a:gd name="T99" fmla="*/ 11042 h 11380"/>
                <a:gd name="T100" fmla="*/ 3627 w 7738"/>
                <a:gd name="T101" fmla="*/ 10704 h 11380"/>
                <a:gd name="T102" fmla="*/ 4418 w 7738"/>
                <a:gd name="T103" fmla="*/ 10681 h 11380"/>
                <a:gd name="T104" fmla="*/ 4855 w 7738"/>
                <a:gd name="T105" fmla="*/ 10658 h 11380"/>
                <a:gd name="T106" fmla="*/ 5356 w 7738"/>
                <a:gd name="T107" fmla="*/ 10314 h 11380"/>
                <a:gd name="T108" fmla="*/ 6345 w 7738"/>
                <a:gd name="T109" fmla="*/ 9732 h 11380"/>
                <a:gd name="T110" fmla="*/ 7737 w 7738"/>
                <a:gd name="T111" fmla="*/ 9406 h 11380"/>
                <a:gd name="T112" fmla="*/ 1147 w 7738"/>
                <a:gd name="T113" fmla="*/ 3586 h 11380"/>
                <a:gd name="T114" fmla="*/ 122 w 7738"/>
                <a:gd name="T115" fmla="*/ 6339 h 1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738" h="11380">
                  <a:moveTo>
                    <a:pt x="7713" y="576"/>
                  </a:moveTo>
                  <a:lnTo>
                    <a:pt x="7713" y="576"/>
                  </a:lnTo>
                  <a:cubicBezTo>
                    <a:pt x="7684" y="559"/>
                    <a:pt x="7649" y="553"/>
                    <a:pt x="7614" y="541"/>
                  </a:cubicBezTo>
                  <a:cubicBezTo>
                    <a:pt x="7574" y="535"/>
                    <a:pt x="7556" y="512"/>
                    <a:pt x="7516" y="512"/>
                  </a:cubicBezTo>
                  <a:cubicBezTo>
                    <a:pt x="7498" y="512"/>
                    <a:pt x="7486" y="518"/>
                    <a:pt x="7463" y="518"/>
                  </a:cubicBezTo>
                  <a:cubicBezTo>
                    <a:pt x="7463" y="547"/>
                    <a:pt x="7469" y="570"/>
                    <a:pt x="7486" y="593"/>
                  </a:cubicBezTo>
                  <a:cubicBezTo>
                    <a:pt x="7481" y="599"/>
                    <a:pt x="7481" y="599"/>
                    <a:pt x="7481" y="599"/>
                  </a:cubicBezTo>
                  <a:cubicBezTo>
                    <a:pt x="7469" y="599"/>
                    <a:pt x="7463" y="593"/>
                    <a:pt x="7451" y="588"/>
                  </a:cubicBezTo>
                  <a:cubicBezTo>
                    <a:pt x="7440" y="593"/>
                    <a:pt x="7440" y="593"/>
                    <a:pt x="7440" y="593"/>
                  </a:cubicBezTo>
                  <a:cubicBezTo>
                    <a:pt x="7440" y="599"/>
                    <a:pt x="7446" y="605"/>
                    <a:pt x="7451" y="611"/>
                  </a:cubicBezTo>
                  <a:cubicBezTo>
                    <a:pt x="7446" y="622"/>
                    <a:pt x="7446" y="622"/>
                    <a:pt x="7446" y="622"/>
                  </a:cubicBezTo>
                  <a:cubicBezTo>
                    <a:pt x="7428" y="617"/>
                    <a:pt x="7416" y="605"/>
                    <a:pt x="7405" y="593"/>
                  </a:cubicBezTo>
                  <a:cubicBezTo>
                    <a:pt x="7393" y="599"/>
                    <a:pt x="7393" y="599"/>
                    <a:pt x="7393" y="599"/>
                  </a:cubicBezTo>
                  <a:cubicBezTo>
                    <a:pt x="7393" y="622"/>
                    <a:pt x="7405" y="628"/>
                    <a:pt x="7405" y="652"/>
                  </a:cubicBezTo>
                  <a:cubicBezTo>
                    <a:pt x="7405" y="657"/>
                    <a:pt x="7399" y="657"/>
                    <a:pt x="7393" y="657"/>
                  </a:cubicBezTo>
                  <a:cubicBezTo>
                    <a:pt x="7364" y="617"/>
                    <a:pt x="7364" y="617"/>
                    <a:pt x="7364" y="617"/>
                  </a:cubicBezTo>
                  <a:cubicBezTo>
                    <a:pt x="7347" y="640"/>
                    <a:pt x="7335" y="652"/>
                    <a:pt x="7335" y="681"/>
                  </a:cubicBezTo>
                  <a:cubicBezTo>
                    <a:pt x="7335" y="722"/>
                    <a:pt x="7376" y="826"/>
                    <a:pt x="7312" y="722"/>
                  </a:cubicBezTo>
                  <a:cubicBezTo>
                    <a:pt x="7300" y="751"/>
                    <a:pt x="7288" y="791"/>
                    <a:pt x="7288" y="815"/>
                  </a:cubicBezTo>
                  <a:cubicBezTo>
                    <a:pt x="7288" y="826"/>
                    <a:pt x="7300" y="855"/>
                    <a:pt x="7288" y="832"/>
                  </a:cubicBezTo>
                  <a:cubicBezTo>
                    <a:pt x="7259" y="785"/>
                    <a:pt x="7259" y="785"/>
                    <a:pt x="7259" y="785"/>
                  </a:cubicBezTo>
                  <a:cubicBezTo>
                    <a:pt x="7224" y="780"/>
                    <a:pt x="7195" y="756"/>
                    <a:pt x="7253" y="756"/>
                  </a:cubicBezTo>
                  <a:cubicBezTo>
                    <a:pt x="7277" y="756"/>
                    <a:pt x="7294" y="739"/>
                    <a:pt x="7294" y="716"/>
                  </a:cubicBezTo>
                  <a:cubicBezTo>
                    <a:pt x="7294" y="681"/>
                    <a:pt x="7277" y="663"/>
                    <a:pt x="7277" y="622"/>
                  </a:cubicBezTo>
                  <a:cubicBezTo>
                    <a:pt x="7277" y="593"/>
                    <a:pt x="7271" y="576"/>
                    <a:pt x="7283" y="553"/>
                  </a:cubicBezTo>
                  <a:cubicBezTo>
                    <a:pt x="7294" y="535"/>
                    <a:pt x="7318" y="529"/>
                    <a:pt x="7318" y="506"/>
                  </a:cubicBezTo>
                  <a:cubicBezTo>
                    <a:pt x="7318" y="454"/>
                    <a:pt x="7271" y="436"/>
                    <a:pt x="7230" y="413"/>
                  </a:cubicBezTo>
                  <a:cubicBezTo>
                    <a:pt x="7190" y="390"/>
                    <a:pt x="7178" y="372"/>
                    <a:pt x="7155" y="337"/>
                  </a:cubicBezTo>
                  <a:cubicBezTo>
                    <a:pt x="7149" y="320"/>
                    <a:pt x="7125" y="320"/>
                    <a:pt x="7125" y="308"/>
                  </a:cubicBezTo>
                  <a:cubicBezTo>
                    <a:pt x="7125" y="296"/>
                    <a:pt x="7131" y="296"/>
                    <a:pt x="7131" y="291"/>
                  </a:cubicBezTo>
                  <a:cubicBezTo>
                    <a:pt x="7131" y="250"/>
                    <a:pt x="7090" y="244"/>
                    <a:pt x="7056" y="221"/>
                  </a:cubicBezTo>
                  <a:cubicBezTo>
                    <a:pt x="7038" y="209"/>
                    <a:pt x="7027" y="198"/>
                    <a:pt x="7003" y="186"/>
                  </a:cubicBezTo>
                  <a:cubicBezTo>
                    <a:pt x="6986" y="174"/>
                    <a:pt x="6957" y="174"/>
                    <a:pt x="6957" y="157"/>
                  </a:cubicBezTo>
                  <a:cubicBezTo>
                    <a:pt x="6957" y="128"/>
                    <a:pt x="6957" y="99"/>
                    <a:pt x="6933" y="99"/>
                  </a:cubicBezTo>
                  <a:cubicBezTo>
                    <a:pt x="6904" y="99"/>
                    <a:pt x="6887" y="104"/>
                    <a:pt x="6858" y="104"/>
                  </a:cubicBezTo>
                  <a:cubicBezTo>
                    <a:pt x="6799" y="104"/>
                    <a:pt x="6764" y="58"/>
                    <a:pt x="6747" y="0"/>
                  </a:cubicBezTo>
                  <a:cubicBezTo>
                    <a:pt x="6724" y="11"/>
                    <a:pt x="6712" y="23"/>
                    <a:pt x="6695" y="35"/>
                  </a:cubicBezTo>
                  <a:cubicBezTo>
                    <a:pt x="6648" y="17"/>
                    <a:pt x="6648" y="17"/>
                    <a:pt x="6648" y="17"/>
                  </a:cubicBezTo>
                  <a:cubicBezTo>
                    <a:pt x="6636" y="17"/>
                    <a:pt x="6636" y="17"/>
                    <a:pt x="6636" y="17"/>
                  </a:cubicBezTo>
                  <a:cubicBezTo>
                    <a:pt x="6666" y="58"/>
                    <a:pt x="6677" y="87"/>
                    <a:pt x="6712" y="104"/>
                  </a:cubicBezTo>
                  <a:cubicBezTo>
                    <a:pt x="6706" y="116"/>
                    <a:pt x="6706" y="116"/>
                    <a:pt x="6706" y="116"/>
                  </a:cubicBezTo>
                  <a:cubicBezTo>
                    <a:pt x="6689" y="116"/>
                    <a:pt x="6677" y="116"/>
                    <a:pt x="6654" y="116"/>
                  </a:cubicBezTo>
                  <a:cubicBezTo>
                    <a:pt x="6654" y="163"/>
                    <a:pt x="6631" y="192"/>
                    <a:pt x="6590" y="221"/>
                  </a:cubicBezTo>
                  <a:cubicBezTo>
                    <a:pt x="6572" y="227"/>
                    <a:pt x="6572" y="250"/>
                    <a:pt x="6555" y="250"/>
                  </a:cubicBezTo>
                  <a:cubicBezTo>
                    <a:pt x="6508" y="250"/>
                    <a:pt x="6508" y="192"/>
                    <a:pt x="6508" y="145"/>
                  </a:cubicBezTo>
                  <a:cubicBezTo>
                    <a:pt x="6508" y="81"/>
                    <a:pt x="6514" y="133"/>
                    <a:pt x="6468" y="157"/>
                  </a:cubicBezTo>
                  <a:cubicBezTo>
                    <a:pt x="6450" y="168"/>
                    <a:pt x="6421" y="163"/>
                    <a:pt x="6421" y="186"/>
                  </a:cubicBezTo>
                  <a:cubicBezTo>
                    <a:pt x="6421" y="203"/>
                    <a:pt x="6450" y="203"/>
                    <a:pt x="6456" y="221"/>
                  </a:cubicBezTo>
                  <a:cubicBezTo>
                    <a:pt x="6427" y="227"/>
                    <a:pt x="6415" y="250"/>
                    <a:pt x="6392" y="250"/>
                  </a:cubicBezTo>
                  <a:cubicBezTo>
                    <a:pt x="6322" y="250"/>
                    <a:pt x="6386" y="168"/>
                    <a:pt x="6305" y="256"/>
                  </a:cubicBezTo>
                  <a:cubicBezTo>
                    <a:pt x="6310" y="279"/>
                    <a:pt x="6310" y="279"/>
                    <a:pt x="6310" y="279"/>
                  </a:cubicBezTo>
                  <a:cubicBezTo>
                    <a:pt x="6299" y="296"/>
                    <a:pt x="6275" y="308"/>
                    <a:pt x="6275" y="331"/>
                  </a:cubicBezTo>
                  <a:cubicBezTo>
                    <a:pt x="6275" y="349"/>
                    <a:pt x="6287" y="355"/>
                    <a:pt x="6287" y="372"/>
                  </a:cubicBezTo>
                  <a:cubicBezTo>
                    <a:pt x="6287" y="396"/>
                    <a:pt x="6252" y="390"/>
                    <a:pt x="6229" y="396"/>
                  </a:cubicBezTo>
                  <a:cubicBezTo>
                    <a:pt x="6235" y="413"/>
                    <a:pt x="6235" y="425"/>
                    <a:pt x="6241" y="442"/>
                  </a:cubicBezTo>
                  <a:cubicBezTo>
                    <a:pt x="6235" y="436"/>
                    <a:pt x="6235" y="436"/>
                    <a:pt x="6235" y="436"/>
                  </a:cubicBezTo>
                  <a:cubicBezTo>
                    <a:pt x="6223" y="419"/>
                    <a:pt x="6206" y="419"/>
                    <a:pt x="6200" y="401"/>
                  </a:cubicBezTo>
                  <a:cubicBezTo>
                    <a:pt x="6188" y="390"/>
                    <a:pt x="6194" y="361"/>
                    <a:pt x="6171" y="361"/>
                  </a:cubicBezTo>
                  <a:cubicBezTo>
                    <a:pt x="6095" y="361"/>
                    <a:pt x="6112" y="483"/>
                    <a:pt x="6112" y="285"/>
                  </a:cubicBezTo>
                  <a:lnTo>
                    <a:pt x="6118" y="279"/>
                  </a:lnTo>
                  <a:cubicBezTo>
                    <a:pt x="6118" y="256"/>
                    <a:pt x="6095" y="256"/>
                    <a:pt x="6078" y="244"/>
                  </a:cubicBezTo>
                  <a:cubicBezTo>
                    <a:pt x="6078" y="349"/>
                    <a:pt x="6078" y="349"/>
                    <a:pt x="6078" y="349"/>
                  </a:cubicBezTo>
                  <a:cubicBezTo>
                    <a:pt x="6078" y="372"/>
                    <a:pt x="6078" y="384"/>
                    <a:pt x="6072" y="407"/>
                  </a:cubicBezTo>
                  <a:cubicBezTo>
                    <a:pt x="6037" y="407"/>
                    <a:pt x="6008" y="407"/>
                    <a:pt x="5990" y="442"/>
                  </a:cubicBezTo>
                  <a:cubicBezTo>
                    <a:pt x="5984" y="436"/>
                    <a:pt x="5984" y="430"/>
                    <a:pt x="5979" y="430"/>
                  </a:cubicBezTo>
                  <a:cubicBezTo>
                    <a:pt x="5979" y="419"/>
                    <a:pt x="5979" y="419"/>
                    <a:pt x="5979" y="419"/>
                  </a:cubicBezTo>
                  <a:cubicBezTo>
                    <a:pt x="5955" y="419"/>
                    <a:pt x="5955" y="419"/>
                    <a:pt x="5955" y="419"/>
                  </a:cubicBezTo>
                  <a:cubicBezTo>
                    <a:pt x="5949" y="419"/>
                    <a:pt x="5944" y="413"/>
                    <a:pt x="5938" y="413"/>
                  </a:cubicBezTo>
                  <a:cubicBezTo>
                    <a:pt x="5932" y="413"/>
                    <a:pt x="5932" y="419"/>
                    <a:pt x="5926" y="419"/>
                  </a:cubicBezTo>
                  <a:cubicBezTo>
                    <a:pt x="5932" y="454"/>
                    <a:pt x="5880" y="459"/>
                    <a:pt x="5880" y="494"/>
                  </a:cubicBezTo>
                  <a:cubicBezTo>
                    <a:pt x="5880" y="529"/>
                    <a:pt x="5915" y="547"/>
                    <a:pt x="5944" y="547"/>
                  </a:cubicBezTo>
                  <a:cubicBezTo>
                    <a:pt x="5944" y="553"/>
                    <a:pt x="5949" y="553"/>
                    <a:pt x="5949" y="559"/>
                  </a:cubicBezTo>
                  <a:cubicBezTo>
                    <a:pt x="5949" y="576"/>
                    <a:pt x="5938" y="588"/>
                    <a:pt x="5926" y="599"/>
                  </a:cubicBezTo>
                  <a:cubicBezTo>
                    <a:pt x="5932" y="611"/>
                    <a:pt x="5932" y="611"/>
                    <a:pt x="5932" y="611"/>
                  </a:cubicBezTo>
                  <a:cubicBezTo>
                    <a:pt x="5938" y="611"/>
                    <a:pt x="5938" y="617"/>
                    <a:pt x="5944" y="617"/>
                  </a:cubicBezTo>
                  <a:cubicBezTo>
                    <a:pt x="5949" y="617"/>
                    <a:pt x="5955" y="611"/>
                    <a:pt x="5961" y="605"/>
                  </a:cubicBezTo>
                  <a:cubicBezTo>
                    <a:pt x="5967" y="611"/>
                    <a:pt x="5973" y="622"/>
                    <a:pt x="5979" y="622"/>
                  </a:cubicBezTo>
                  <a:cubicBezTo>
                    <a:pt x="5990" y="622"/>
                    <a:pt x="5996" y="628"/>
                    <a:pt x="6002" y="628"/>
                  </a:cubicBezTo>
                  <a:cubicBezTo>
                    <a:pt x="5990" y="634"/>
                    <a:pt x="5984" y="640"/>
                    <a:pt x="5984" y="652"/>
                  </a:cubicBezTo>
                  <a:cubicBezTo>
                    <a:pt x="5984" y="669"/>
                    <a:pt x="6008" y="675"/>
                    <a:pt x="6025" y="692"/>
                  </a:cubicBezTo>
                  <a:cubicBezTo>
                    <a:pt x="6002" y="698"/>
                    <a:pt x="5990" y="710"/>
                    <a:pt x="5967" y="710"/>
                  </a:cubicBezTo>
                  <a:cubicBezTo>
                    <a:pt x="5932" y="710"/>
                    <a:pt x="5915" y="687"/>
                    <a:pt x="5886" y="675"/>
                  </a:cubicBezTo>
                  <a:cubicBezTo>
                    <a:pt x="5886" y="687"/>
                    <a:pt x="5880" y="692"/>
                    <a:pt x="5874" y="704"/>
                  </a:cubicBezTo>
                  <a:cubicBezTo>
                    <a:pt x="5816" y="675"/>
                    <a:pt x="5816" y="570"/>
                    <a:pt x="5810" y="687"/>
                  </a:cubicBezTo>
                  <a:cubicBezTo>
                    <a:pt x="5786" y="687"/>
                    <a:pt x="5769" y="687"/>
                    <a:pt x="5746" y="687"/>
                  </a:cubicBezTo>
                  <a:cubicBezTo>
                    <a:pt x="5746" y="698"/>
                    <a:pt x="5746" y="704"/>
                    <a:pt x="5746" y="716"/>
                  </a:cubicBezTo>
                  <a:cubicBezTo>
                    <a:pt x="5769" y="716"/>
                    <a:pt x="5769" y="716"/>
                    <a:pt x="5769" y="716"/>
                  </a:cubicBezTo>
                  <a:cubicBezTo>
                    <a:pt x="5786" y="716"/>
                    <a:pt x="5798" y="704"/>
                    <a:pt x="5821" y="704"/>
                  </a:cubicBezTo>
                  <a:cubicBezTo>
                    <a:pt x="5798" y="722"/>
                    <a:pt x="5786" y="733"/>
                    <a:pt x="5763" y="739"/>
                  </a:cubicBezTo>
                  <a:cubicBezTo>
                    <a:pt x="5769" y="762"/>
                    <a:pt x="5786" y="768"/>
                    <a:pt x="5810" y="768"/>
                  </a:cubicBezTo>
                  <a:cubicBezTo>
                    <a:pt x="5821" y="768"/>
                    <a:pt x="5833" y="756"/>
                    <a:pt x="5845" y="756"/>
                  </a:cubicBezTo>
                  <a:cubicBezTo>
                    <a:pt x="5839" y="774"/>
                    <a:pt x="5839" y="785"/>
                    <a:pt x="5839" y="809"/>
                  </a:cubicBezTo>
                  <a:cubicBezTo>
                    <a:pt x="5839" y="838"/>
                    <a:pt x="5932" y="919"/>
                    <a:pt x="5909" y="914"/>
                  </a:cubicBezTo>
                  <a:cubicBezTo>
                    <a:pt x="5862" y="896"/>
                    <a:pt x="5874" y="867"/>
                    <a:pt x="5839" y="867"/>
                  </a:cubicBezTo>
                  <a:cubicBezTo>
                    <a:pt x="5827" y="867"/>
                    <a:pt x="5821" y="879"/>
                    <a:pt x="5816" y="885"/>
                  </a:cubicBezTo>
                  <a:cubicBezTo>
                    <a:pt x="5792" y="873"/>
                    <a:pt x="5775" y="873"/>
                    <a:pt x="5769" y="855"/>
                  </a:cubicBezTo>
                  <a:cubicBezTo>
                    <a:pt x="5757" y="838"/>
                    <a:pt x="5775" y="815"/>
                    <a:pt x="5763" y="797"/>
                  </a:cubicBezTo>
                  <a:cubicBezTo>
                    <a:pt x="5746" y="785"/>
                    <a:pt x="5728" y="803"/>
                    <a:pt x="5711" y="797"/>
                  </a:cubicBezTo>
                  <a:cubicBezTo>
                    <a:pt x="5699" y="791"/>
                    <a:pt x="5699" y="780"/>
                    <a:pt x="5687" y="780"/>
                  </a:cubicBezTo>
                  <a:cubicBezTo>
                    <a:pt x="5658" y="780"/>
                    <a:pt x="5653" y="815"/>
                    <a:pt x="5629" y="826"/>
                  </a:cubicBezTo>
                  <a:cubicBezTo>
                    <a:pt x="5641" y="850"/>
                    <a:pt x="5641" y="850"/>
                    <a:pt x="5641" y="850"/>
                  </a:cubicBezTo>
                  <a:cubicBezTo>
                    <a:pt x="5629" y="867"/>
                    <a:pt x="5618" y="879"/>
                    <a:pt x="5594" y="879"/>
                  </a:cubicBezTo>
                  <a:cubicBezTo>
                    <a:pt x="5583" y="879"/>
                    <a:pt x="5571" y="867"/>
                    <a:pt x="5565" y="855"/>
                  </a:cubicBezTo>
                  <a:cubicBezTo>
                    <a:pt x="5554" y="879"/>
                    <a:pt x="5519" y="879"/>
                    <a:pt x="5519" y="908"/>
                  </a:cubicBezTo>
                  <a:cubicBezTo>
                    <a:pt x="5519" y="914"/>
                    <a:pt x="5524" y="919"/>
                    <a:pt x="5530" y="925"/>
                  </a:cubicBezTo>
                  <a:cubicBezTo>
                    <a:pt x="5507" y="943"/>
                    <a:pt x="5501" y="972"/>
                    <a:pt x="5501" y="1001"/>
                  </a:cubicBezTo>
                  <a:cubicBezTo>
                    <a:pt x="5501" y="1018"/>
                    <a:pt x="5513" y="1030"/>
                    <a:pt x="5530" y="1030"/>
                  </a:cubicBezTo>
                  <a:cubicBezTo>
                    <a:pt x="5530" y="1030"/>
                    <a:pt x="5536" y="1030"/>
                    <a:pt x="5542" y="1030"/>
                  </a:cubicBezTo>
                  <a:cubicBezTo>
                    <a:pt x="5554" y="1030"/>
                    <a:pt x="5554" y="1030"/>
                    <a:pt x="5554" y="1030"/>
                  </a:cubicBezTo>
                  <a:cubicBezTo>
                    <a:pt x="5554" y="1042"/>
                    <a:pt x="5554" y="1053"/>
                    <a:pt x="5554" y="1071"/>
                  </a:cubicBezTo>
                  <a:cubicBezTo>
                    <a:pt x="5618" y="1042"/>
                    <a:pt x="5629" y="1001"/>
                    <a:pt x="5676" y="954"/>
                  </a:cubicBezTo>
                  <a:cubicBezTo>
                    <a:pt x="5676" y="1013"/>
                    <a:pt x="5676" y="1013"/>
                    <a:pt x="5676" y="1013"/>
                  </a:cubicBezTo>
                  <a:cubicBezTo>
                    <a:pt x="5676" y="1048"/>
                    <a:pt x="5612" y="1048"/>
                    <a:pt x="5612" y="1088"/>
                  </a:cubicBezTo>
                  <a:cubicBezTo>
                    <a:pt x="5612" y="1094"/>
                    <a:pt x="5618" y="1100"/>
                    <a:pt x="5618" y="1111"/>
                  </a:cubicBezTo>
                  <a:cubicBezTo>
                    <a:pt x="5606" y="1117"/>
                    <a:pt x="5594" y="1123"/>
                    <a:pt x="5594" y="1135"/>
                  </a:cubicBezTo>
                  <a:cubicBezTo>
                    <a:pt x="5594" y="1152"/>
                    <a:pt x="5606" y="1158"/>
                    <a:pt x="5606" y="1176"/>
                  </a:cubicBezTo>
                  <a:cubicBezTo>
                    <a:pt x="5606" y="1193"/>
                    <a:pt x="5583" y="1193"/>
                    <a:pt x="5571" y="1211"/>
                  </a:cubicBezTo>
                  <a:cubicBezTo>
                    <a:pt x="5554" y="1205"/>
                    <a:pt x="5548" y="1199"/>
                    <a:pt x="5530" y="1193"/>
                  </a:cubicBezTo>
                  <a:cubicBezTo>
                    <a:pt x="5524" y="1228"/>
                    <a:pt x="5524" y="1245"/>
                    <a:pt x="5513" y="1274"/>
                  </a:cubicBezTo>
                  <a:cubicBezTo>
                    <a:pt x="5524" y="1280"/>
                    <a:pt x="5530" y="1286"/>
                    <a:pt x="5542" y="1286"/>
                  </a:cubicBezTo>
                  <a:cubicBezTo>
                    <a:pt x="5554" y="1286"/>
                    <a:pt x="5559" y="1280"/>
                    <a:pt x="5571" y="1280"/>
                  </a:cubicBezTo>
                  <a:cubicBezTo>
                    <a:pt x="5589" y="1280"/>
                    <a:pt x="5757" y="1333"/>
                    <a:pt x="5723" y="1344"/>
                  </a:cubicBezTo>
                  <a:cubicBezTo>
                    <a:pt x="5658" y="1327"/>
                    <a:pt x="5623" y="1344"/>
                    <a:pt x="5565" y="1333"/>
                  </a:cubicBezTo>
                  <a:cubicBezTo>
                    <a:pt x="5536" y="1327"/>
                    <a:pt x="5519" y="1304"/>
                    <a:pt x="5490" y="1304"/>
                  </a:cubicBezTo>
                  <a:lnTo>
                    <a:pt x="5484" y="1309"/>
                  </a:lnTo>
                  <a:cubicBezTo>
                    <a:pt x="5484" y="1333"/>
                    <a:pt x="5501" y="1350"/>
                    <a:pt x="5524" y="1350"/>
                  </a:cubicBezTo>
                  <a:cubicBezTo>
                    <a:pt x="5524" y="1368"/>
                    <a:pt x="5519" y="1374"/>
                    <a:pt x="5513" y="1385"/>
                  </a:cubicBezTo>
                  <a:cubicBezTo>
                    <a:pt x="5495" y="1374"/>
                    <a:pt x="5490" y="1356"/>
                    <a:pt x="5466" y="1356"/>
                  </a:cubicBezTo>
                  <a:cubicBezTo>
                    <a:pt x="5460" y="1356"/>
                    <a:pt x="5455" y="1362"/>
                    <a:pt x="5449" y="1362"/>
                  </a:cubicBezTo>
                  <a:cubicBezTo>
                    <a:pt x="5408" y="1362"/>
                    <a:pt x="5408" y="1315"/>
                    <a:pt x="5385" y="1286"/>
                  </a:cubicBezTo>
                  <a:cubicBezTo>
                    <a:pt x="5361" y="1257"/>
                    <a:pt x="5332" y="1263"/>
                    <a:pt x="5297" y="1263"/>
                  </a:cubicBezTo>
                  <a:cubicBezTo>
                    <a:pt x="5292" y="1263"/>
                    <a:pt x="5292" y="1263"/>
                    <a:pt x="5286" y="1263"/>
                  </a:cubicBezTo>
                  <a:cubicBezTo>
                    <a:pt x="5297" y="1286"/>
                    <a:pt x="5315" y="1286"/>
                    <a:pt x="5315" y="1309"/>
                  </a:cubicBezTo>
                  <a:cubicBezTo>
                    <a:pt x="5315" y="1315"/>
                    <a:pt x="5309" y="1315"/>
                    <a:pt x="5309" y="1321"/>
                  </a:cubicBezTo>
                  <a:cubicBezTo>
                    <a:pt x="5286" y="1321"/>
                    <a:pt x="5286" y="1321"/>
                    <a:pt x="5286" y="1321"/>
                  </a:cubicBezTo>
                  <a:cubicBezTo>
                    <a:pt x="5274" y="1321"/>
                    <a:pt x="5268" y="1333"/>
                    <a:pt x="5257" y="1333"/>
                  </a:cubicBezTo>
                  <a:cubicBezTo>
                    <a:pt x="5245" y="1333"/>
                    <a:pt x="5239" y="1315"/>
                    <a:pt x="5228" y="1309"/>
                  </a:cubicBezTo>
                  <a:cubicBezTo>
                    <a:pt x="5204" y="1280"/>
                    <a:pt x="5175" y="1269"/>
                    <a:pt x="5175" y="1228"/>
                  </a:cubicBezTo>
                  <a:cubicBezTo>
                    <a:pt x="5175" y="1222"/>
                    <a:pt x="5181" y="1216"/>
                    <a:pt x="5181" y="1205"/>
                  </a:cubicBezTo>
                  <a:cubicBezTo>
                    <a:pt x="5158" y="1211"/>
                    <a:pt x="5158" y="1211"/>
                    <a:pt x="5158" y="1211"/>
                  </a:cubicBezTo>
                  <a:cubicBezTo>
                    <a:pt x="5152" y="1211"/>
                    <a:pt x="5152" y="1205"/>
                    <a:pt x="5146" y="1205"/>
                  </a:cubicBezTo>
                  <a:cubicBezTo>
                    <a:pt x="5140" y="1205"/>
                    <a:pt x="5140" y="1211"/>
                    <a:pt x="5134" y="1211"/>
                  </a:cubicBezTo>
                  <a:cubicBezTo>
                    <a:pt x="5134" y="1228"/>
                    <a:pt x="5129" y="1234"/>
                    <a:pt x="5129" y="1251"/>
                  </a:cubicBezTo>
                  <a:cubicBezTo>
                    <a:pt x="5129" y="1257"/>
                    <a:pt x="5134" y="1257"/>
                    <a:pt x="5134" y="1263"/>
                  </a:cubicBezTo>
                  <a:cubicBezTo>
                    <a:pt x="5169" y="1263"/>
                    <a:pt x="5169" y="1263"/>
                    <a:pt x="5169" y="1263"/>
                  </a:cubicBezTo>
                  <a:cubicBezTo>
                    <a:pt x="5169" y="1327"/>
                    <a:pt x="5169" y="1327"/>
                    <a:pt x="5169" y="1327"/>
                  </a:cubicBezTo>
                  <a:cubicBezTo>
                    <a:pt x="5158" y="1339"/>
                    <a:pt x="5134" y="1339"/>
                    <a:pt x="5134" y="1350"/>
                  </a:cubicBezTo>
                  <a:cubicBezTo>
                    <a:pt x="5134" y="1368"/>
                    <a:pt x="5146" y="1374"/>
                    <a:pt x="5146" y="1385"/>
                  </a:cubicBezTo>
                  <a:cubicBezTo>
                    <a:pt x="5146" y="1408"/>
                    <a:pt x="5111" y="1414"/>
                    <a:pt x="5111" y="1437"/>
                  </a:cubicBezTo>
                  <a:cubicBezTo>
                    <a:pt x="5111" y="1472"/>
                    <a:pt x="5158" y="1455"/>
                    <a:pt x="5181" y="1472"/>
                  </a:cubicBezTo>
                  <a:cubicBezTo>
                    <a:pt x="5204" y="1502"/>
                    <a:pt x="5198" y="1537"/>
                    <a:pt x="5210" y="1571"/>
                  </a:cubicBezTo>
                  <a:cubicBezTo>
                    <a:pt x="5228" y="1566"/>
                    <a:pt x="5245" y="1571"/>
                    <a:pt x="5263" y="1560"/>
                  </a:cubicBezTo>
                  <a:cubicBezTo>
                    <a:pt x="5274" y="1566"/>
                    <a:pt x="5274" y="1566"/>
                    <a:pt x="5274" y="1566"/>
                  </a:cubicBezTo>
                  <a:cubicBezTo>
                    <a:pt x="5257" y="1583"/>
                    <a:pt x="5245" y="1589"/>
                    <a:pt x="5222" y="1600"/>
                  </a:cubicBezTo>
                  <a:cubicBezTo>
                    <a:pt x="5251" y="1641"/>
                    <a:pt x="5280" y="1665"/>
                    <a:pt x="5216" y="1624"/>
                  </a:cubicBezTo>
                  <a:cubicBezTo>
                    <a:pt x="5233" y="1670"/>
                    <a:pt x="5245" y="1700"/>
                    <a:pt x="5274" y="1740"/>
                  </a:cubicBezTo>
                  <a:cubicBezTo>
                    <a:pt x="5268" y="1752"/>
                    <a:pt x="5268" y="1752"/>
                    <a:pt x="5268" y="1752"/>
                  </a:cubicBezTo>
                  <a:cubicBezTo>
                    <a:pt x="5233" y="1729"/>
                    <a:pt x="5210" y="1717"/>
                    <a:pt x="5181" y="1694"/>
                  </a:cubicBezTo>
                  <a:cubicBezTo>
                    <a:pt x="5158" y="1670"/>
                    <a:pt x="5164" y="1630"/>
                    <a:pt x="5134" y="1630"/>
                  </a:cubicBezTo>
                  <a:cubicBezTo>
                    <a:pt x="5117" y="1630"/>
                    <a:pt x="5129" y="1659"/>
                    <a:pt x="5129" y="1676"/>
                  </a:cubicBezTo>
                  <a:cubicBezTo>
                    <a:pt x="5129" y="1705"/>
                    <a:pt x="5152" y="1717"/>
                    <a:pt x="5164" y="1746"/>
                  </a:cubicBezTo>
                  <a:cubicBezTo>
                    <a:pt x="5158" y="1752"/>
                    <a:pt x="5146" y="1758"/>
                    <a:pt x="5134" y="1758"/>
                  </a:cubicBezTo>
                  <a:cubicBezTo>
                    <a:pt x="5134" y="1787"/>
                    <a:pt x="5105" y="1793"/>
                    <a:pt x="5105" y="1822"/>
                  </a:cubicBezTo>
                  <a:cubicBezTo>
                    <a:pt x="5105" y="1833"/>
                    <a:pt x="5111" y="1839"/>
                    <a:pt x="5111" y="1851"/>
                  </a:cubicBezTo>
                  <a:cubicBezTo>
                    <a:pt x="5111" y="1886"/>
                    <a:pt x="5094" y="2031"/>
                    <a:pt x="5094" y="1926"/>
                  </a:cubicBezTo>
                  <a:cubicBezTo>
                    <a:pt x="5094" y="1909"/>
                    <a:pt x="5100" y="1897"/>
                    <a:pt x="5100" y="1880"/>
                  </a:cubicBezTo>
                  <a:cubicBezTo>
                    <a:pt x="5100" y="1839"/>
                    <a:pt x="5065" y="1828"/>
                    <a:pt x="5030" y="1804"/>
                  </a:cubicBezTo>
                  <a:cubicBezTo>
                    <a:pt x="4989" y="1763"/>
                    <a:pt x="5006" y="1717"/>
                    <a:pt x="4977" y="1665"/>
                  </a:cubicBezTo>
                  <a:cubicBezTo>
                    <a:pt x="4954" y="1624"/>
                    <a:pt x="4902" y="1618"/>
                    <a:pt x="4902" y="1571"/>
                  </a:cubicBezTo>
                  <a:cubicBezTo>
                    <a:pt x="4902" y="1554"/>
                    <a:pt x="4907" y="1548"/>
                    <a:pt x="4907" y="1531"/>
                  </a:cubicBezTo>
                  <a:cubicBezTo>
                    <a:pt x="4907" y="1513"/>
                    <a:pt x="4907" y="1513"/>
                    <a:pt x="4907" y="1513"/>
                  </a:cubicBezTo>
                  <a:cubicBezTo>
                    <a:pt x="4896" y="1507"/>
                    <a:pt x="4890" y="1507"/>
                    <a:pt x="4872" y="1502"/>
                  </a:cubicBezTo>
                  <a:cubicBezTo>
                    <a:pt x="4878" y="1478"/>
                    <a:pt x="4878" y="1478"/>
                    <a:pt x="4878" y="1478"/>
                  </a:cubicBezTo>
                  <a:cubicBezTo>
                    <a:pt x="4855" y="1449"/>
                    <a:pt x="4808" y="1443"/>
                    <a:pt x="4808" y="1403"/>
                  </a:cubicBezTo>
                  <a:cubicBezTo>
                    <a:pt x="4808" y="1374"/>
                    <a:pt x="4826" y="1362"/>
                    <a:pt x="4832" y="1333"/>
                  </a:cubicBezTo>
                  <a:cubicBezTo>
                    <a:pt x="4814" y="1333"/>
                    <a:pt x="4808" y="1333"/>
                    <a:pt x="4791" y="1333"/>
                  </a:cubicBezTo>
                  <a:cubicBezTo>
                    <a:pt x="4779" y="1374"/>
                    <a:pt x="4756" y="1391"/>
                    <a:pt x="4715" y="1397"/>
                  </a:cubicBezTo>
                  <a:cubicBezTo>
                    <a:pt x="4721" y="1420"/>
                    <a:pt x="4715" y="1432"/>
                    <a:pt x="4715" y="1455"/>
                  </a:cubicBezTo>
                  <a:cubicBezTo>
                    <a:pt x="4715" y="1478"/>
                    <a:pt x="4733" y="1490"/>
                    <a:pt x="4756" y="1496"/>
                  </a:cubicBezTo>
                  <a:cubicBezTo>
                    <a:pt x="4750" y="1502"/>
                    <a:pt x="4750" y="1507"/>
                    <a:pt x="4750" y="1513"/>
                  </a:cubicBezTo>
                  <a:cubicBezTo>
                    <a:pt x="4715" y="1513"/>
                    <a:pt x="4692" y="1525"/>
                    <a:pt x="4657" y="1525"/>
                  </a:cubicBezTo>
                  <a:cubicBezTo>
                    <a:pt x="4640" y="1525"/>
                    <a:pt x="4634" y="1507"/>
                    <a:pt x="4622" y="1502"/>
                  </a:cubicBezTo>
                  <a:cubicBezTo>
                    <a:pt x="4616" y="1542"/>
                    <a:pt x="4622" y="1560"/>
                    <a:pt x="4622" y="1600"/>
                  </a:cubicBezTo>
                  <a:cubicBezTo>
                    <a:pt x="4611" y="1600"/>
                    <a:pt x="4611" y="1600"/>
                    <a:pt x="4611" y="1600"/>
                  </a:cubicBezTo>
                  <a:cubicBezTo>
                    <a:pt x="4552" y="1612"/>
                    <a:pt x="4535" y="1647"/>
                    <a:pt x="4500" y="1694"/>
                  </a:cubicBezTo>
                  <a:cubicBezTo>
                    <a:pt x="4471" y="1740"/>
                    <a:pt x="4436" y="1763"/>
                    <a:pt x="4436" y="1816"/>
                  </a:cubicBezTo>
                  <a:cubicBezTo>
                    <a:pt x="4436" y="1886"/>
                    <a:pt x="4453" y="1926"/>
                    <a:pt x="4459" y="1991"/>
                  </a:cubicBezTo>
                  <a:cubicBezTo>
                    <a:pt x="4459" y="2031"/>
                    <a:pt x="4442" y="2060"/>
                    <a:pt x="4471" y="2089"/>
                  </a:cubicBezTo>
                  <a:cubicBezTo>
                    <a:pt x="4488" y="2113"/>
                    <a:pt x="4552" y="2095"/>
                    <a:pt x="4552" y="2130"/>
                  </a:cubicBezTo>
                  <a:cubicBezTo>
                    <a:pt x="4552" y="2206"/>
                    <a:pt x="4482" y="2241"/>
                    <a:pt x="4412" y="2282"/>
                  </a:cubicBezTo>
                  <a:cubicBezTo>
                    <a:pt x="4360" y="2311"/>
                    <a:pt x="4337" y="2346"/>
                    <a:pt x="4273" y="2357"/>
                  </a:cubicBezTo>
                  <a:cubicBezTo>
                    <a:pt x="4249" y="2363"/>
                    <a:pt x="4255" y="2392"/>
                    <a:pt x="4238" y="2404"/>
                  </a:cubicBezTo>
                  <a:cubicBezTo>
                    <a:pt x="4244" y="2421"/>
                    <a:pt x="4255" y="2427"/>
                    <a:pt x="4255" y="2450"/>
                  </a:cubicBezTo>
                  <a:cubicBezTo>
                    <a:pt x="4255" y="2474"/>
                    <a:pt x="4232" y="2491"/>
                    <a:pt x="4209" y="2491"/>
                  </a:cubicBezTo>
                  <a:cubicBezTo>
                    <a:pt x="4203" y="2491"/>
                    <a:pt x="4197" y="2497"/>
                    <a:pt x="4186" y="2497"/>
                  </a:cubicBezTo>
                  <a:cubicBezTo>
                    <a:pt x="4191" y="2509"/>
                    <a:pt x="4191" y="2509"/>
                    <a:pt x="4191" y="2520"/>
                  </a:cubicBezTo>
                  <a:cubicBezTo>
                    <a:pt x="4191" y="2619"/>
                    <a:pt x="4139" y="2666"/>
                    <a:pt x="4086" y="2741"/>
                  </a:cubicBezTo>
                  <a:cubicBezTo>
                    <a:pt x="4023" y="2817"/>
                    <a:pt x="3988" y="2870"/>
                    <a:pt x="3906" y="2928"/>
                  </a:cubicBezTo>
                  <a:cubicBezTo>
                    <a:pt x="3825" y="2980"/>
                    <a:pt x="3766" y="2998"/>
                    <a:pt x="3673" y="3033"/>
                  </a:cubicBezTo>
                  <a:cubicBezTo>
                    <a:pt x="3592" y="3067"/>
                    <a:pt x="3551" y="3108"/>
                    <a:pt x="3464" y="3108"/>
                  </a:cubicBezTo>
                  <a:cubicBezTo>
                    <a:pt x="3400" y="3108"/>
                    <a:pt x="3400" y="3108"/>
                    <a:pt x="3400" y="3108"/>
                  </a:cubicBezTo>
                  <a:cubicBezTo>
                    <a:pt x="3306" y="3108"/>
                    <a:pt x="3260" y="3178"/>
                    <a:pt x="3167" y="3178"/>
                  </a:cubicBezTo>
                  <a:cubicBezTo>
                    <a:pt x="3103" y="3178"/>
                    <a:pt x="3074" y="3126"/>
                    <a:pt x="3010" y="3126"/>
                  </a:cubicBezTo>
                  <a:cubicBezTo>
                    <a:pt x="2998" y="3126"/>
                    <a:pt x="2998" y="3132"/>
                    <a:pt x="2992" y="3132"/>
                  </a:cubicBezTo>
                  <a:cubicBezTo>
                    <a:pt x="2992" y="3143"/>
                    <a:pt x="2992" y="3149"/>
                    <a:pt x="2992" y="3161"/>
                  </a:cubicBezTo>
                  <a:cubicBezTo>
                    <a:pt x="2975" y="3161"/>
                    <a:pt x="2969" y="3149"/>
                    <a:pt x="2957" y="3149"/>
                  </a:cubicBezTo>
                  <a:cubicBezTo>
                    <a:pt x="2887" y="3149"/>
                    <a:pt x="2882" y="3225"/>
                    <a:pt x="2829" y="3271"/>
                  </a:cubicBezTo>
                  <a:cubicBezTo>
                    <a:pt x="2777" y="3312"/>
                    <a:pt x="2730" y="3324"/>
                    <a:pt x="2666" y="3324"/>
                  </a:cubicBezTo>
                  <a:cubicBezTo>
                    <a:pt x="2619" y="3324"/>
                    <a:pt x="2619" y="3324"/>
                    <a:pt x="2619" y="3324"/>
                  </a:cubicBezTo>
                  <a:cubicBezTo>
                    <a:pt x="2550" y="3341"/>
                    <a:pt x="2497" y="3341"/>
                    <a:pt x="2433" y="3376"/>
                  </a:cubicBezTo>
                  <a:cubicBezTo>
                    <a:pt x="2387" y="3405"/>
                    <a:pt x="2375" y="3440"/>
                    <a:pt x="2334" y="3469"/>
                  </a:cubicBezTo>
                  <a:cubicBezTo>
                    <a:pt x="2264" y="3522"/>
                    <a:pt x="2206" y="3539"/>
                    <a:pt x="2119" y="3539"/>
                  </a:cubicBezTo>
                  <a:cubicBezTo>
                    <a:pt x="2072" y="3539"/>
                    <a:pt x="2055" y="3481"/>
                    <a:pt x="2002" y="3481"/>
                  </a:cubicBezTo>
                  <a:cubicBezTo>
                    <a:pt x="1944" y="3481"/>
                    <a:pt x="1915" y="3527"/>
                    <a:pt x="1863" y="3527"/>
                  </a:cubicBezTo>
                  <a:cubicBezTo>
                    <a:pt x="1845" y="3527"/>
                    <a:pt x="1839" y="3522"/>
                    <a:pt x="1828" y="3522"/>
                  </a:cubicBezTo>
                  <a:cubicBezTo>
                    <a:pt x="1828" y="3516"/>
                    <a:pt x="1857" y="3411"/>
                    <a:pt x="1839" y="3446"/>
                  </a:cubicBezTo>
                  <a:cubicBezTo>
                    <a:pt x="1775" y="3533"/>
                    <a:pt x="1705" y="3556"/>
                    <a:pt x="1607" y="3603"/>
                  </a:cubicBezTo>
                  <a:cubicBezTo>
                    <a:pt x="1589" y="3591"/>
                    <a:pt x="1589" y="3591"/>
                    <a:pt x="1589" y="3591"/>
                  </a:cubicBezTo>
                  <a:cubicBezTo>
                    <a:pt x="1572" y="3615"/>
                    <a:pt x="1577" y="3644"/>
                    <a:pt x="1554" y="3656"/>
                  </a:cubicBezTo>
                  <a:cubicBezTo>
                    <a:pt x="1508" y="3685"/>
                    <a:pt x="1455" y="3679"/>
                    <a:pt x="1420" y="3719"/>
                  </a:cubicBezTo>
                  <a:cubicBezTo>
                    <a:pt x="1356" y="3784"/>
                    <a:pt x="1333" y="3830"/>
                    <a:pt x="1263" y="3888"/>
                  </a:cubicBezTo>
                  <a:cubicBezTo>
                    <a:pt x="1164" y="3976"/>
                    <a:pt x="1088" y="3999"/>
                    <a:pt x="960" y="4028"/>
                  </a:cubicBezTo>
                  <a:cubicBezTo>
                    <a:pt x="925" y="4040"/>
                    <a:pt x="914" y="4075"/>
                    <a:pt x="879" y="4075"/>
                  </a:cubicBezTo>
                  <a:cubicBezTo>
                    <a:pt x="867" y="4075"/>
                    <a:pt x="856" y="4075"/>
                    <a:pt x="844" y="4075"/>
                  </a:cubicBezTo>
                  <a:cubicBezTo>
                    <a:pt x="821" y="4110"/>
                    <a:pt x="826" y="4145"/>
                    <a:pt x="803" y="4179"/>
                  </a:cubicBezTo>
                  <a:cubicBezTo>
                    <a:pt x="780" y="4220"/>
                    <a:pt x="751" y="4238"/>
                    <a:pt x="739" y="4284"/>
                  </a:cubicBezTo>
                  <a:cubicBezTo>
                    <a:pt x="727" y="4342"/>
                    <a:pt x="733" y="4389"/>
                    <a:pt x="687" y="4424"/>
                  </a:cubicBezTo>
                  <a:cubicBezTo>
                    <a:pt x="681" y="4412"/>
                    <a:pt x="669" y="4406"/>
                    <a:pt x="658" y="4401"/>
                  </a:cubicBezTo>
                  <a:cubicBezTo>
                    <a:pt x="646" y="4430"/>
                    <a:pt x="623" y="4436"/>
                    <a:pt x="593" y="4447"/>
                  </a:cubicBezTo>
                  <a:cubicBezTo>
                    <a:pt x="588" y="4436"/>
                    <a:pt x="582" y="4424"/>
                    <a:pt x="582" y="4406"/>
                  </a:cubicBezTo>
                  <a:cubicBezTo>
                    <a:pt x="582" y="4383"/>
                    <a:pt x="593" y="4371"/>
                    <a:pt x="593" y="4342"/>
                  </a:cubicBezTo>
                  <a:cubicBezTo>
                    <a:pt x="559" y="4249"/>
                    <a:pt x="559" y="4249"/>
                    <a:pt x="559" y="4249"/>
                  </a:cubicBezTo>
                  <a:cubicBezTo>
                    <a:pt x="564" y="4232"/>
                    <a:pt x="564" y="4226"/>
                    <a:pt x="564" y="4208"/>
                  </a:cubicBezTo>
                  <a:cubicBezTo>
                    <a:pt x="553" y="4139"/>
                    <a:pt x="553" y="4139"/>
                    <a:pt x="553" y="4139"/>
                  </a:cubicBezTo>
                  <a:cubicBezTo>
                    <a:pt x="559" y="4121"/>
                    <a:pt x="582" y="4110"/>
                    <a:pt x="582" y="4086"/>
                  </a:cubicBezTo>
                  <a:cubicBezTo>
                    <a:pt x="582" y="4080"/>
                    <a:pt x="576" y="4069"/>
                    <a:pt x="570" y="4069"/>
                  </a:cubicBezTo>
                  <a:cubicBezTo>
                    <a:pt x="524" y="4069"/>
                    <a:pt x="512" y="4121"/>
                    <a:pt x="495" y="4162"/>
                  </a:cubicBezTo>
                  <a:cubicBezTo>
                    <a:pt x="477" y="4208"/>
                    <a:pt x="466" y="4238"/>
                    <a:pt x="442" y="4278"/>
                  </a:cubicBezTo>
                  <a:cubicBezTo>
                    <a:pt x="425" y="4319"/>
                    <a:pt x="425" y="4342"/>
                    <a:pt x="413" y="4377"/>
                  </a:cubicBezTo>
                  <a:cubicBezTo>
                    <a:pt x="396" y="4424"/>
                    <a:pt x="372" y="4447"/>
                    <a:pt x="372" y="4494"/>
                  </a:cubicBezTo>
                  <a:cubicBezTo>
                    <a:pt x="372" y="4581"/>
                    <a:pt x="442" y="4622"/>
                    <a:pt x="442" y="4709"/>
                  </a:cubicBezTo>
                  <a:cubicBezTo>
                    <a:pt x="442" y="4732"/>
                    <a:pt x="419" y="4738"/>
                    <a:pt x="419" y="4762"/>
                  </a:cubicBezTo>
                  <a:cubicBezTo>
                    <a:pt x="419" y="4797"/>
                    <a:pt x="425" y="4814"/>
                    <a:pt x="425" y="4843"/>
                  </a:cubicBezTo>
                  <a:cubicBezTo>
                    <a:pt x="425" y="4925"/>
                    <a:pt x="372" y="4960"/>
                    <a:pt x="332" y="5035"/>
                  </a:cubicBezTo>
                  <a:cubicBezTo>
                    <a:pt x="267" y="5157"/>
                    <a:pt x="233" y="5239"/>
                    <a:pt x="233" y="5379"/>
                  </a:cubicBezTo>
                  <a:cubicBezTo>
                    <a:pt x="233" y="5524"/>
                    <a:pt x="384" y="5582"/>
                    <a:pt x="361" y="5728"/>
                  </a:cubicBezTo>
                  <a:cubicBezTo>
                    <a:pt x="361" y="5757"/>
                    <a:pt x="361" y="5786"/>
                    <a:pt x="390" y="5804"/>
                  </a:cubicBezTo>
                  <a:cubicBezTo>
                    <a:pt x="413" y="5815"/>
                    <a:pt x="436" y="5821"/>
                    <a:pt x="448" y="5844"/>
                  </a:cubicBezTo>
                  <a:cubicBezTo>
                    <a:pt x="477" y="5926"/>
                    <a:pt x="477" y="5984"/>
                    <a:pt x="530" y="6054"/>
                  </a:cubicBezTo>
                  <a:cubicBezTo>
                    <a:pt x="564" y="6095"/>
                    <a:pt x="576" y="6124"/>
                    <a:pt x="611" y="6159"/>
                  </a:cubicBezTo>
                  <a:cubicBezTo>
                    <a:pt x="629" y="6188"/>
                    <a:pt x="658" y="6199"/>
                    <a:pt x="658" y="6229"/>
                  </a:cubicBezTo>
                  <a:cubicBezTo>
                    <a:pt x="658" y="6234"/>
                    <a:pt x="646" y="6240"/>
                    <a:pt x="646" y="6246"/>
                  </a:cubicBezTo>
                  <a:cubicBezTo>
                    <a:pt x="646" y="6258"/>
                    <a:pt x="652" y="6264"/>
                    <a:pt x="652" y="6275"/>
                  </a:cubicBezTo>
                  <a:cubicBezTo>
                    <a:pt x="652" y="6281"/>
                    <a:pt x="634" y="6281"/>
                    <a:pt x="634" y="6287"/>
                  </a:cubicBezTo>
                  <a:cubicBezTo>
                    <a:pt x="629" y="6310"/>
                    <a:pt x="634" y="6322"/>
                    <a:pt x="634" y="6339"/>
                  </a:cubicBezTo>
                  <a:cubicBezTo>
                    <a:pt x="629" y="6357"/>
                    <a:pt x="611" y="6362"/>
                    <a:pt x="611" y="6386"/>
                  </a:cubicBezTo>
                  <a:cubicBezTo>
                    <a:pt x="611" y="6409"/>
                    <a:pt x="629" y="6421"/>
                    <a:pt x="629" y="6444"/>
                  </a:cubicBezTo>
                  <a:cubicBezTo>
                    <a:pt x="629" y="6479"/>
                    <a:pt x="599" y="6520"/>
                    <a:pt x="559" y="6520"/>
                  </a:cubicBezTo>
                  <a:cubicBezTo>
                    <a:pt x="524" y="6520"/>
                    <a:pt x="530" y="6473"/>
                    <a:pt x="512" y="6444"/>
                  </a:cubicBezTo>
                  <a:cubicBezTo>
                    <a:pt x="495" y="6409"/>
                    <a:pt x="471" y="6397"/>
                    <a:pt x="460" y="6362"/>
                  </a:cubicBezTo>
                  <a:cubicBezTo>
                    <a:pt x="448" y="6362"/>
                    <a:pt x="448" y="6362"/>
                    <a:pt x="448" y="6362"/>
                  </a:cubicBezTo>
                  <a:cubicBezTo>
                    <a:pt x="425" y="6386"/>
                    <a:pt x="396" y="6397"/>
                    <a:pt x="355" y="6351"/>
                  </a:cubicBezTo>
                  <a:cubicBezTo>
                    <a:pt x="355" y="6304"/>
                    <a:pt x="384" y="6275"/>
                    <a:pt x="384" y="6229"/>
                  </a:cubicBezTo>
                  <a:cubicBezTo>
                    <a:pt x="384" y="6194"/>
                    <a:pt x="355" y="6182"/>
                    <a:pt x="337" y="6153"/>
                  </a:cubicBezTo>
                  <a:cubicBezTo>
                    <a:pt x="308" y="6112"/>
                    <a:pt x="303" y="6089"/>
                    <a:pt x="267" y="6054"/>
                  </a:cubicBezTo>
                  <a:cubicBezTo>
                    <a:pt x="250" y="6060"/>
                    <a:pt x="250" y="6060"/>
                    <a:pt x="250" y="6060"/>
                  </a:cubicBezTo>
                  <a:cubicBezTo>
                    <a:pt x="244" y="6077"/>
                    <a:pt x="244" y="6083"/>
                    <a:pt x="244" y="6101"/>
                  </a:cubicBezTo>
                  <a:cubicBezTo>
                    <a:pt x="244" y="6135"/>
                    <a:pt x="244" y="6135"/>
                    <a:pt x="244" y="6135"/>
                  </a:cubicBezTo>
                  <a:cubicBezTo>
                    <a:pt x="244" y="6176"/>
                    <a:pt x="273" y="6188"/>
                    <a:pt x="291" y="6229"/>
                  </a:cubicBezTo>
                  <a:cubicBezTo>
                    <a:pt x="308" y="6281"/>
                    <a:pt x="308" y="6316"/>
                    <a:pt x="343" y="6362"/>
                  </a:cubicBezTo>
                  <a:cubicBezTo>
                    <a:pt x="367" y="6403"/>
                    <a:pt x="401" y="6409"/>
                    <a:pt x="442" y="6438"/>
                  </a:cubicBezTo>
                  <a:cubicBezTo>
                    <a:pt x="471" y="6461"/>
                    <a:pt x="466" y="6502"/>
                    <a:pt x="466" y="6543"/>
                  </a:cubicBezTo>
                  <a:cubicBezTo>
                    <a:pt x="466" y="6566"/>
                    <a:pt x="448" y="6578"/>
                    <a:pt x="436" y="6595"/>
                  </a:cubicBezTo>
                  <a:cubicBezTo>
                    <a:pt x="413" y="6619"/>
                    <a:pt x="407" y="6648"/>
                    <a:pt x="378" y="6648"/>
                  </a:cubicBezTo>
                  <a:cubicBezTo>
                    <a:pt x="361" y="6648"/>
                    <a:pt x="355" y="6630"/>
                    <a:pt x="343" y="6624"/>
                  </a:cubicBezTo>
                  <a:cubicBezTo>
                    <a:pt x="320" y="6613"/>
                    <a:pt x="291" y="6607"/>
                    <a:pt x="291" y="6584"/>
                  </a:cubicBezTo>
                  <a:cubicBezTo>
                    <a:pt x="291" y="6560"/>
                    <a:pt x="297" y="6549"/>
                    <a:pt x="297" y="6525"/>
                  </a:cubicBezTo>
                  <a:cubicBezTo>
                    <a:pt x="279" y="6514"/>
                    <a:pt x="262" y="6508"/>
                    <a:pt x="250" y="6490"/>
                  </a:cubicBezTo>
                  <a:cubicBezTo>
                    <a:pt x="256" y="6473"/>
                    <a:pt x="262" y="6461"/>
                    <a:pt x="262" y="6444"/>
                  </a:cubicBezTo>
                  <a:cubicBezTo>
                    <a:pt x="262" y="6421"/>
                    <a:pt x="250" y="6403"/>
                    <a:pt x="233" y="6392"/>
                  </a:cubicBezTo>
                  <a:cubicBezTo>
                    <a:pt x="215" y="6392"/>
                    <a:pt x="215" y="6392"/>
                    <a:pt x="215" y="6392"/>
                  </a:cubicBezTo>
                  <a:cubicBezTo>
                    <a:pt x="215" y="6421"/>
                    <a:pt x="215" y="6421"/>
                    <a:pt x="215" y="6421"/>
                  </a:cubicBezTo>
                  <a:cubicBezTo>
                    <a:pt x="227" y="6461"/>
                    <a:pt x="227" y="6461"/>
                    <a:pt x="227" y="6461"/>
                  </a:cubicBezTo>
                  <a:cubicBezTo>
                    <a:pt x="227" y="6502"/>
                    <a:pt x="227" y="6502"/>
                    <a:pt x="227" y="6502"/>
                  </a:cubicBezTo>
                  <a:cubicBezTo>
                    <a:pt x="215" y="6508"/>
                    <a:pt x="215" y="6508"/>
                    <a:pt x="215" y="6508"/>
                  </a:cubicBezTo>
                  <a:cubicBezTo>
                    <a:pt x="209" y="6490"/>
                    <a:pt x="204" y="6473"/>
                    <a:pt x="186" y="6461"/>
                  </a:cubicBezTo>
                  <a:cubicBezTo>
                    <a:pt x="180" y="6461"/>
                    <a:pt x="180" y="6461"/>
                    <a:pt x="180" y="6461"/>
                  </a:cubicBezTo>
                  <a:cubicBezTo>
                    <a:pt x="186" y="6496"/>
                    <a:pt x="215" y="6502"/>
                    <a:pt x="238" y="6537"/>
                  </a:cubicBezTo>
                  <a:cubicBezTo>
                    <a:pt x="273" y="6601"/>
                    <a:pt x="308" y="6630"/>
                    <a:pt x="355" y="6688"/>
                  </a:cubicBezTo>
                  <a:cubicBezTo>
                    <a:pt x="407" y="6747"/>
                    <a:pt x="419" y="6787"/>
                    <a:pt x="454" y="6851"/>
                  </a:cubicBezTo>
                  <a:cubicBezTo>
                    <a:pt x="524" y="6956"/>
                    <a:pt x="570" y="7020"/>
                    <a:pt x="582" y="7148"/>
                  </a:cubicBezTo>
                  <a:cubicBezTo>
                    <a:pt x="588" y="7148"/>
                    <a:pt x="593" y="7148"/>
                    <a:pt x="599" y="7148"/>
                  </a:cubicBezTo>
                  <a:cubicBezTo>
                    <a:pt x="605" y="7160"/>
                    <a:pt x="605" y="7160"/>
                    <a:pt x="605" y="7160"/>
                  </a:cubicBezTo>
                  <a:cubicBezTo>
                    <a:pt x="570" y="7195"/>
                    <a:pt x="576" y="7230"/>
                    <a:pt x="576" y="7276"/>
                  </a:cubicBezTo>
                  <a:cubicBezTo>
                    <a:pt x="576" y="7335"/>
                    <a:pt x="570" y="7375"/>
                    <a:pt x="599" y="7428"/>
                  </a:cubicBezTo>
                  <a:cubicBezTo>
                    <a:pt x="611" y="7445"/>
                    <a:pt x="634" y="7439"/>
                    <a:pt x="646" y="7457"/>
                  </a:cubicBezTo>
                  <a:cubicBezTo>
                    <a:pt x="669" y="7479"/>
                    <a:pt x="669" y="7497"/>
                    <a:pt x="687" y="7520"/>
                  </a:cubicBezTo>
                  <a:cubicBezTo>
                    <a:pt x="733" y="7578"/>
                    <a:pt x="768" y="7607"/>
                    <a:pt x="786" y="7677"/>
                  </a:cubicBezTo>
                  <a:cubicBezTo>
                    <a:pt x="815" y="7747"/>
                    <a:pt x="803" y="7793"/>
                    <a:pt x="838" y="7858"/>
                  </a:cubicBezTo>
                  <a:cubicBezTo>
                    <a:pt x="861" y="7898"/>
                    <a:pt x="896" y="7904"/>
                    <a:pt x="925" y="7939"/>
                  </a:cubicBezTo>
                  <a:cubicBezTo>
                    <a:pt x="989" y="8026"/>
                    <a:pt x="995" y="8096"/>
                    <a:pt x="995" y="8207"/>
                  </a:cubicBezTo>
                  <a:cubicBezTo>
                    <a:pt x="995" y="8242"/>
                    <a:pt x="978" y="8265"/>
                    <a:pt x="978" y="8306"/>
                  </a:cubicBezTo>
                  <a:cubicBezTo>
                    <a:pt x="978" y="8393"/>
                    <a:pt x="978" y="8393"/>
                    <a:pt x="978" y="8393"/>
                  </a:cubicBezTo>
                  <a:cubicBezTo>
                    <a:pt x="978" y="8416"/>
                    <a:pt x="972" y="8434"/>
                    <a:pt x="972" y="8463"/>
                  </a:cubicBezTo>
                  <a:cubicBezTo>
                    <a:pt x="972" y="8498"/>
                    <a:pt x="995" y="8510"/>
                    <a:pt x="1001" y="8539"/>
                  </a:cubicBezTo>
                  <a:cubicBezTo>
                    <a:pt x="1024" y="8608"/>
                    <a:pt x="1013" y="8649"/>
                    <a:pt x="1024" y="8719"/>
                  </a:cubicBezTo>
                  <a:cubicBezTo>
                    <a:pt x="1042" y="8824"/>
                    <a:pt x="1083" y="8876"/>
                    <a:pt x="1129" y="8969"/>
                  </a:cubicBezTo>
                  <a:cubicBezTo>
                    <a:pt x="1199" y="9092"/>
                    <a:pt x="1228" y="9167"/>
                    <a:pt x="1281" y="9295"/>
                  </a:cubicBezTo>
                  <a:cubicBezTo>
                    <a:pt x="1310" y="9360"/>
                    <a:pt x="1356" y="9389"/>
                    <a:pt x="1356" y="9458"/>
                  </a:cubicBezTo>
                  <a:cubicBezTo>
                    <a:pt x="1356" y="9534"/>
                    <a:pt x="1356" y="9534"/>
                    <a:pt x="1356" y="9534"/>
                  </a:cubicBezTo>
                  <a:cubicBezTo>
                    <a:pt x="1356" y="9546"/>
                    <a:pt x="1350" y="9552"/>
                    <a:pt x="1350" y="9563"/>
                  </a:cubicBezTo>
                  <a:cubicBezTo>
                    <a:pt x="1350" y="9604"/>
                    <a:pt x="1368" y="9627"/>
                    <a:pt x="1368" y="9674"/>
                  </a:cubicBezTo>
                  <a:cubicBezTo>
                    <a:pt x="1368" y="9703"/>
                    <a:pt x="1362" y="9720"/>
                    <a:pt x="1350" y="9744"/>
                  </a:cubicBezTo>
                  <a:cubicBezTo>
                    <a:pt x="1362" y="9784"/>
                    <a:pt x="1362" y="9784"/>
                    <a:pt x="1362" y="9784"/>
                  </a:cubicBezTo>
                  <a:cubicBezTo>
                    <a:pt x="1350" y="9819"/>
                    <a:pt x="1356" y="9843"/>
                    <a:pt x="1345" y="9872"/>
                  </a:cubicBezTo>
                  <a:cubicBezTo>
                    <a:pt x="1339" y="9883"/>
                    <a:pt x="1321" y="9883"/>
                    <a:pt x="1310" y="9889"/>
                  </a:cubicBezTo>
                  <a:cubicBezTo>
                    <a:pt x="1292" y="9907"/>
                    <a:pt x="1292" y="9930"/>
                    <a:pt x="1286" y="9959"/>
                  </a:cubicBezTo>
                  <a:cubicBezTo>
                    <a:pt x="1327" y="10209"/>
                    <a:pt x="1327" y="10209"/>
                    <a:pt x="1327" y="10209"/>
                  </a:cubicBezTo>
                  <a:cubicBezTo>
                    <a:pt x="1327" y="10291"/>
                    <a:pt x="1304" y="10338"/>
                    <a:pt x="1263" y="10413"/>
                  </a:cubicBezTo>
                  <a:cubicBezTo>
                    <a:pt x="1228" y="10483"/>
                    <a:pt x="1187" y="10535"/>
                    <a:pt x="1106" y="10535"/>
                  </a:cubicBezTo>
                  <a:cubicBezTo>
                    <a:pt x="1065" y="10535"/>
                    <a:pt x="1053" y="10495"/>
                    <a:pt x="1013" y="10471"/>
                  </a:cubicBezTo>
                  <a:cubicBezTo>
                    <a:pt x="1013" y="10518"/>
                    <a:pt x="1013" y="10518"/>
                    <a:pt x="1013" y="10518"/>
                  </a:cubicBezTo>
                  <a:cubicBezTo>
                    <a:pt x="1013" y="10541"/>
                    <a:pt x="1001" y="10547"/>
                    <a:pt x="1001" y="10564"/>
                  </a:cubicBezTo>
                  <a:cubicBezTo>
                    <a:pt x="1001" y="10704"/>
                    <a:pt x="1001" y="10704"/>
                    <a:pt x="1001" y="10704"/>
                  </a:cubicBezTo>
                  <a:cubicBezTo>
                    <a:pt x="1001" y="10751"/>
                    <a:pt x="1013" y="10780"/>
                    <a:pt x="1024" y="10827"/>
                  </a:cubicBezTo>
                  <a:cubicBezTo>
                    <a:pt x="1036" y="10873"/>
                    <a:pt x="1036" y="10902"/>
                    <a:pt x="1071" y="10931"/>
                  </a:cubicBezTo>
                  <a:cubicBezTo>
                    <a:pt x="1077" y="10914"/>
                    <a:pt x="1083" y="10902"/>
                    <a:pt x="1094" y="10885"/>
                  </a:cubicBezTo>
                  <a:cubicBezTo>
                    <a:pt x="1199" y="10925"/>
                    <a:pt x="1263" y="10954"/>
                    <a:pt x="1345" y="11036"/>
                  </a:cubicBezTo>
                  <a:cubicBezTo>
                    <a:pt x="1391" y="11083"/>
                    <a:pt x="1438" y="11100"/>
                    <a:pt x="1461" y="11158"/>
                  </a:cubicBezTo>
                  <a:cubicBezTo>
                    <a:pt x="1478" y="11187"/>
                    <a:pt x="1461" y="11211"/>
                    <a:pt x="1484" y="11228"/>
                  </a:cubicBezTo>
                  <a:cubicBezTo>
                    <a:pt x="1519" y="11251"/>
                    <a:pt x="1548" y="11234"/>
                    <a:pt x="1583" y="11246"/>
                  </a:cubicBezTo>
                  <a:cubicBezTo>
                    <a:pt x="1671" y="11275"/>
                    <a:pt x="1717" y="11298"/>
                    <a:pt x="1793" y="11345"/>
                  </a:cubicBezTo>
                  <a:cubicBezTo>
                    <a:pt x="1799" y="11327"/>
                    <a:pt x="1804" y="11316"/>
                    <a:pt x="1810" y="11298"/>
                  </a:cubicBezTo>
                  <a:cubicBezTo>
                    <a:pt x="1909" y="11345"/>
                    <a:pt x="1909" y="11345"/>
                    <a:pt x="1909" y="11345"/>
                  </a:cubicBezTo>
                  <a:cubicBezTo>
                    <a:pt x="1927" y="11333"/>
                    <a:pt x="1933" y="11316"/>
                    <a:pt x="1944" y="11298"/>
                  </a:cubicBezTo>
                  <a:cubicBezTo>
                    <a:pt x="1967" y="11316"/>
                    <a:pt x="1985" y="11327"/>
                    <a:pt x="2014" y="11327"/>
                  </a:cubicBezTo>
                  <a:cubicBezTo>
                    <a:pt x="2043" y="11327"/>
                    <a:pt x="2061" y="11333"/>
                    <a:pt x="2090" y="11333"/>
                  </a:cubicBezTo>
                  <a:cubicBezTo>
                    <a:pt x="2107" y="11333"/>
                    <a:pt x="2113" y="11310"/>
                    <a:pt x="2136" y="11310"/>
                  </a:cubicBezTo>
                  <a:cubicBezTo>
                    <a:pt x="2154" y="11310"/>
                    <a:pt x="2165" y="11316"/>
                    <a:pt x="2183" y="11310"/>
                  </a:cubicBezTo>
                  <a:cubicBezTo>
                    <a:pt x="2183" y="11321"/>
                    <a:pt x="2177" y="11327"/>
                    <a:pt x="2177" y="11339"/>
                  </a:cubicBezTo>
                  <a:cubicBezTo>
                    <a:pt x="2177" y="11350"/>
                    <a:pt x="2194" y="11345"/>
                    <a:pt x="2206" y="11350"/>
                  </a:cubicBezTo>
                  <a:cubicBezTo>
                    <a:pt x="2224" y="11356"/>
                    <a:pt x="2235" y="11374"/>
                    <a:pt x="2259" y="11374"/>
                  </a:cubicBezTo>
                  <a:cubicBezTo>
                    <a:pt x="2282" y="11374"/>
                    <a:pt x="2282" y="11333"/>
                    <a:pt x="2305" y="11333"/>
                  </a:cubicBezTo>
                  <a:cubicBezTo>
                    <a:pt x="2346" y="11333"/>
                    <a:pt x="2363" y="11374"/>
                    <a:pt x="2404" y="11379"/>
                  </a:cubicBezTo>
                  <a:cubicBezTo>
                    <a:pt x="2404" y="11316"/>
                    <a:pt x="2474" y="11304"/>
                    <a:pt x="2532" y="11269"/>
                  </a:cubicBezTo>
                  <a:cubicBezTo>
                    <a:pt x="2567" y="11251"/>
                    <a:pt x="2590" y="11251"/>
                    <a:pt x="2625" y="11228"/>
                  </a:cubicBezTo>
                  <a:cubicBezTo>
                    <a:pt x="2649" y="11211"/>
                    <a:pt x="2643" y="11182"/>
                    <a:pt x="2672" y="11170"/>
                  </a:cubicBezTo>
                  <a:cubicBezTo>
                    <a:pt x="2695" y="11153"/>
                    <a:pt x="2701" y="11135"/>
                    <a:pt x="2730" y="11123"/>
                  </a:cubicBezTo>
                  <a:cubicBezTo>
                    <a:pt x="2759" y="11112"/>
                    <a:pt x="2782" y="11117"/>
                    <a:pt x="2806" y="11094"/>
                  </a:cubicBezTo>
                  <a:cubicBezTo>
                    <a:pt x="2817" y="11083"/>
                    <a:pt x="2806" y="11059"/>
                    <a:pt x="2817" y="11042"/>
                  </a:cubicBezTo>
                  <a:cubicBezTo>
                    <a:pt x="2847" y="10995"/>
                    <a:pt x="2899" y="10995"/>
                    <a:pt x="2951" y="10995"/>
                  </a:cubicBezTo>
                  <a:cubicBezTo>
                    <a:pt x="2992" y="10995"/>
                    <a:pt x="3010" y="11013"/>
                    <a:pt x="3050" y="11019"/>
                  </a:cubicBezTo>
                  <a:cubicBezTo>
                    <a:pt x="3056" y="10995"/>
                    <a:pt x="3079" y="10995"/>
                    <a:pt x="3103" y="10990"/>
                  </a:cubicBezTo>
                  <a:cubicBezTo>
                    <a:pt x="3184" y="10827"/>
                    <a:pt x="3271" y="10687"/>
                    <a:pt x="3452" y="10687"/>
                  </a:cubicBezTo>
                  <a:cubicBezTo>
                    <a:pt x="3469" y="10687"/>
                    <a:pt x="3475" y="10698"/>
                    <a:pt x="3487" y="10698"/>
                  </a:cubicBezTo>
                  <a:cubicBezTo>
                    <a:pt x="3510" y="10698"/>
                    <a:pt x="3516" y="10687"/>
                    <a:pt x="3539" y="10687"/>
                  </a:cubicBezTo>
                  <a:cubicBezTo>
                    <a:pt x="3574" y="10687"/>
                    <a:pt x="3592" y="10704"/>
                    <a:pt x="3627" y="10704"/>
                  </a:cubicBezTo>
                  <a:cubicBezTo>
                    <a:pt x="3656" y="10704"/>
                    <a:pt x="3650" y="10664"/>
                    <a:pt x="3679" y="10658"/>
                  </a:cubicBezTo>
                  <a:cubicBezTo>
                    <a:pt x="3731" y="10646"/>
                    <a:pt x="3766" y="10646"/>
                    <a:pt x="3825" y="10646"/>
                  </a:cubicBezTo>
                  <a:cubicBezTo>
                    <a:pt x="3918" y="10646"/>
                    <a:pt x="3918" y="10646"/>
                    <a:pt x="3918" y="10646"/>
                  </a:cubicBezTo>
                  <a:cubicBezTo>
                    <a:pt x="3982" y="10646"/>
                    <a:pt x="4017" y="10617"/>
                    <a:pt x="4081" y="10617"/>
                  </a:cubicBezTo>
                  <a:cubicBezTo>
                    <a:pt x="4162" y="10617"/>
                    <a:pt x="4203" y="10664"/>
                    <a:pt x="4285" y="10664"/>
                  </a:cubicBezTo>
                  <a:cubicBezTo>
                    <a:pt x="4314" y="10664"/>
                    <a:pt x="4325" y="10640"/>
                    <a:pt x="4354" y="10640"/>
                  </a:cubicBezTo>
                  <a:cubicBezTo>
                    <a:pt x="4383" y="10640"/>
                    <a:pt x="4401" y="10652"/>
                    <a:pt x="4418" y="10681"/>
                  </a:cubicBezTo>
                  <a:cubicBezTo>
                    <a:pt x="4424" y="10698"/>
                    <a:pt x="4424" y="10722"/>
                    <a:pt x="4442" y="10722"/>
                  </a:cubicBezTo>
                  <a:cubicBezTo>
                    <a:pt x="4465" y="10722"/>
                    <a:pt x="4482" y="10727"/>
                    <a:pt x="4500" y="10716"/>
                  </a:cubicBezTo>
                  <a:cubicBezTo>
                    <a:pt x="4523" y="10704"/>
                    <a:pt x="4523" y="10664"/>
                    <a:pt x="4552" y="10664"/>
                  </a:cubicBezTo>
                  <a:cubicBezTo>
                    <a:pt x="4581" y="10664"/>
                    <a:pt x="4593" y="10687"/>
                    <a:pt x="4622" y="10687"/>
                  </a:cubicBezTo>
                  <a:cubicBezTo>
                    <a:pt x="4640" y="10687"/>
                    <a:pt x="4645" y="10675"/>
                    <a:pt x="4657" y="10669"/>
                  </a:cubicBezTo>
                  <a:cubicBezTo>
                    <a:pt x="4709" y="10669"/>
                    <a:pt x="4709" y="10669"/>
                    <a:pt x="4709" y="10669"/>
                  </a:cubicBezTo>
                  <a:cubicBezTo>
                    <a:pt x="4768" y="10669"/>
                    <a:pt x="4797" y="10658"/>
                    <a:pt x="4855" y="10658"/>
                  </a:cubicBezTo>
                  <a:cubicBezTo>
                    <a:pt x="4902" y="10658"/>
                    <a:pt x="4907" y="10722"/>
                    <a:pt x="4954" y="10722"/>
                  </a:cubicBezTo>
                  <a:cubicBezTo>
                    <a:pt x="5012" y="10722"/>
                    <a:pt x="5041" y="10693"/>
                    <a:pt x="5094" y="10664"/>
                  </a:cubicBezTo>
                  <a:cubicBezTo>
                    <a:pt x="5117" y="10652"/>
                    <a:pt x="5134" y="10652"/>
                    <a:pt x="5164" y="10646"/>
                  </a:cubicBezTo>
                  <a:cubicBezTo>
                    <a:pt x="5187" y="10640"/>
                    <a:pt x="5210" y="10640"/>
                    <a:pt x="5210" y="10623"/>
                  </a:cubicBezTo>
                  <a:cubicBezTo>
                    <a:pt x="5210" y="10605"/>
                    <a:pt x="5198" y="10599"/>
                    <a:pt x="5198" y="10582"/>
                  </a:cubicBezTo>
                  <a:cubicBezTo>
                    <a:pt x="5198" y="10518"/>
                    <a:pt x="5280" y="10518"/>
                    <a:pt x="5315" y="10465"/>
                  </a:cubicBezTo>
                  <a:cubicBezTo>
                    <a:pt x="5350" y="10413"/>
                    <a:pt x="5344" y="10372"/>
                    <a:pt x="5356" y="10314"/>
                  </a:cubicBezTo>
                  <a:cubicBezTo>
                    <a:pt x="5373" y="10244"/>
                    <a:pt x="5396" y="10204"/>
                    <a:pt x="5455" y="10169"/>
                  </a:cubicBezTo>
                  <a:cubicBezTo>
                    <a:pt x="5507" y="10139"/>
                    <a:pt x="5530" y="10105"/>
                    <a:pt x="5583" y="10105"/>
                  </a:cubicBezTo>
                  <a:cubicBezTo>
                    <a:pt x="5635" y="10105"/>
                    <a:pt x="5635" y="10105"/>
                    <a:pt x="5635" y="10105"/>
                  </a:cubicBezTo>
                  <a:cubicBezTo>
                    <a:pt x="5693" y="10105"/>
                    <a:pt x="5717" y="10070"/>
                    <a:pt x="5763" y="10041"/>
                  </a:cubicBezTo>
                  <a:cubicBezTo>
                    <a:pt x="5856" y="9982"/>
                    <a:pt x="5909" y="9942"/>
                    <a:pt x="6013" y="9918"/>
                  </a:cubicBezTo>
                  <a:cubicBezTo>
                    <a:pt x="6153" y="9907"/>
                    <a:pt x="6188" y="9761"/>
                    <a:pt x="6322" y="9726"/>
                  </a:cubicBezTo>
                  <a:cubicBezTo>
                    <a:pt x="6345" y="9732"/>
                    <a:pt x="6345" y="9732"/>
                    <a:pt x="6345" y="9732"/>
                  </a:cubicBezTo>
                  <a:cubicBezTo>
                    <a:pt x="6363" y="9720"/>
                    <a:pt x="6375" y="9709"/>
                    <a:pt x="6398" y="9709"/>
                  </a:cubicBezTo>
                  <a:cubicBezTo>
                    <a:pt x="6485" y="9709"/>
                    <a:pt x="6526" y="9761"/>
                    <a:pt x="6607" y="9761"/>
                  </a:cubicBezTo>
                  <a:cubicBezTo>
                    <a:pt x="6764" y="9761"/>
                    <a:pt x="6852" y="9744"/>
                    <a:pt x="7009" y="9709"/>
                  </a:cubicBezTo>
                  <a:cubicBezTo>
                    <a:pt x="7079" y="9691"/>
                    <a:pt x="7108" y="9656"/>
                    <a:pt x="7178" y="9639"/>
                  </a:cubicBezTo>
                  <a:cubicBezTo>
                    <a:pt x="7300" y="9610"/>
                    <a:pt x="7364" y="9581"/>
                    <a:pt x="7481" y="9528"/>
                  </a:cubicBezTo>
                  <a:cubicBezTo>
                    <a:pt x="7585" y="9487"/>
                    <a:pt x="7626" y="9406"/>
                    <a:pt x="7737" y="9406"/>
                  </a:cubicBezTo>
                  <a:lnTo>
                    <a:pt x="7737" y="9406"/>
                  </a:lnTo>
                  <a:cubicBezTo>
                    <a:pt x="7737" y="6258"/>
                    <a:pt x="7737" y="6258"/>
                    <a:pt x="7737" y="6258"/>
                  </a:cubicBezTo>
                  <a:lnTo>
                    <a:pt x="7737" y="6258"/>
                  </a:lnTo>
                  <a:cubicBezTo>
                    <a:pt x="7713" y="576"/>
                    <a:pt x="7713" y="576"/>
                    <a:pt x="7713" y="576"/>
                  </a:cubicBezTo>
                  <a:close/>
                  <a:moveTo>
                    <a:pt x="1123" y="3580"/>
                  </a:moveTo>
                  <a:lnTo>
                    <a:pt x="1123" y="3580"/>
                  </a:lnTo>
                  <a:cubicBezTo>
                    <a:pt x="1141" y="3539"/>
                    <a:pt x="1164" y="3510"/>
                    <a:pt x="1205" y="3498"/>
                  </a:cubicBezTo>
                  <a:cubicBezTo>
                    <a:pt x="1205" y="3539"/>
                    <a:pt x="1187" y="3586"/>
                    <a:pt x="1147" y="3586"/>
                  </a:cubicBezTo>
                  <a:cubicBezTo>
                    <a:pt x="1135" y="3586"/>
                    <a:pt x="1129" y="3586"/>
                    <a:pt x="1123" y="3580"/>
                  </a:cubicBezTo>
                  <a:close/>
                  <a:moveTo>
                    <a:pt x="29" y="6019"/>
                  </a:moveTo>
                  <a:lnTo>
                    <a:pt x="29" y="6019"/>
                  </a:lnTo>
                  <a:cubicBezTo>
                    <a:pt x="23" y="6019"/>
                    <a:pt x="17" y="6013"/>
                    <a:pt x="6" y="6013"/>
                  </a:cubicBezTo>
                  <a:cubicBezTo>
                    <a:pt x="6" y="6019"/>
                    <a:pt x="0" y="6025"/>
                    <a:pt x="0" y="6036"/>
                  </a:cubicBezTo>
                  <a:cubicBezTo>
                    <a:pt x="0" y="6118"/>
                    <a:pt x="29" y="6164"/>
                    <a:pt x="70" y="6234"/>
                  </a:cubicBezTo>
                  <a:cubicBezTo>
                    <a:pt x="93" y="6275"/>
                    <a:pt x="99" y="6304"/>
                    <a:pt x="122" y="6339"/>
                  </a:cubicBezTo>
                  <a:cubicBezTo>
                    <a:pt x="116" y="6223"/>
                    <a:pt x="29" y="6170"/>
                    <a:pt x="29" y="6054"/>
                  </a:cubicBezTo>
                  <a:lnTo>
                    <a:pt x="29" y="60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" name="Freeform 8"/>
            <p:cNvSpPr>
              <a:spLocks noChangeArrowheads="1"/>
            </p:cNvSpPr>
            <p:nvPr/>
          </p:nvSpPr>
          <p:spPr bwMode="auto">
            <a:xfrm>
              <a:off x="16292140" y="3470941"/>
              <a:ext cx="1916833" cy="3344973"/>
            </a:xfrm>
            <a:custGeom>
              <a:avLst/>
              <a:gdLst>
                <a:gd name="T0" fmla="*/ 984 w 4355"/>
                <a:gd name="T1" fmla="*/ 157 h 7604"/>
                <a:gd name="T2" fmla="*/ 874 w 4355"/>
                <a:gd name="T3" fmla="*/ 227 h 7604"/>
                <a:gd name="T4" fmla="*/ 676 w 4355"/>
                <a:gd name="T5" fmla="*/ 59 h 7604"/>
                <a:gd name="T6" fmla="*/ 897 w 4355"/>
                <a:gd name="T7" fmla="*/ 379 h 7604"/>
                <a:gd name="T8" fmla="*/ 1171 w 4355"/>
                <a:gd name="T9" fmla="*/ 268 h 7604"/>
                <a:gd name="T10" fmla="*/ 664 w 4355"/>
                <a:gd name="T11" fmla="*/ 169 h 7604"/>
                <a:gd name="T12" fmla="*/ 781 w 4355"/>
                <a:gd name="T13" fmla="*/ 361 h 7604"/>
                <a:gd name="T14" fmla="*/ 554 w 4355"/>
                <a:gd name="T15" fmla="*/ 315 h 7604"/>
                <a:gd name="T16" fmla="*/ 571 w 4355"/>
                <a:gd name="T17" fmla="*/ 204 h 7604"/>
                <a:gd name="T18" fmla="*/ 3591 w 4355"/>
                <a:gd name="T19" fmla="*/ 1374 h 7604"/>
                <a:gd name="T20" fmla="*/ 3824 w 4355"/>
                <a:gd name="T21" fmla="*/ 1549 h 7604"/>
                <a:gd name="T22" fmla="*/ 3708 w 4355"/>
                <a:gd name="T23" fmla="*/ 1520 h 7604"/>
                <a:gd name="T24" fmla="*/ 3754 w 4355"/>
                <a:gd name="T25" fmla="*/ 1386 h 7604"/>
                <a:gd name="T26" fmla="*/ 3498 w 4355"/>
                <a:gd name="T27" fmla="*/ 1298 h 7604"/>
                <a:gd name="T28" fmla="*/ 3498 w 4355"/>
                <a:gd name="T29" fmla="*/ 1298 h 7604"/>
                <a:gd name="T30" fmla="*/ 3894 w 4355"/>
                <a:gd name="T31" fmla="*/ 2352 h 7604"/>
                <a:gd name="T32" fmla="*/ 4348 w 4355"/>
                <a:gd name="T33" fmla="*/ 2742 h 7604"/>
                <a:gd name="T34" fmla="*/ 0 w 4355"/>
                <a:gd name="T35" fmla="*/ 1904 h 7604"/>
                <a:gd name="T36" fmla="*/ 117 w 4355"/>
                <a:gd name="T37" fmla="*/ 1898 h 7604"/>
                <a:gd name="T38" fmla="*/ 292 w 4355"/>
                <a:gd name="T39" fmla="*/ 1997 h 7604"/>
                <a:gd name="T40" fmla="*/ 297 w 4355"/>
                <a:gd name="T41" fmla="*/ 1881 h 7604"/>
                <a:gd name="T42" fmla="*/ 449 w 4355"/>
                <a:gd name="T43" fmla="*/ 1828 h 7604"/>
                <a:gd name="T44" fmla="*/ 361 w 4355"/>
                <a:gd name="T45" fmla="*/ 1724 h 7604"/>
                <a:gd name="T46" fmla="*/ 268 w 4355"/>
                <a:gd name="T47" fmla="*/ 1531 h 7604"/>
                <a:gd name="T48" fmla="*/ 466 w 4355"/>
                <a:gd name="T49" fmla="*/ 1217 h 7604"/>
                <a:gd name="T50" fmla="*/ 629 w 4355"/>
                <a:gd name="T51" fmla="*/ 1112 h 7604"/>
                <a:gd name="T52" fmla="*/ 664 w 4355"/>
                <a:gd name="T53" fmla="*/ 815 h 7604"/>
                <a:gd name="T54" fmla="*/ 781 w 4355"/>
                <a:gd name="T55" fmla="*/ 763 h 7604"/>
                <a:gd name="T56" fmla="*/ 880 w 4355"/>
                <a:gd name="T57" fmla="*/ 740 h 7604"/>
                <a:gd name="T58" fmla="*/ 949 w 4355"/>
                <a:gd name="T59" fmla="*/ 751 h 7604"/>
                <a:gd name="T60" fmla="*/ 1060 w 4355"/>
                <a:gd name="T61" fmla="*/ 588 h 7604"/>
                <a:gd name="T62" fmla="*/ 1369 w 4355"/>
                <a:gd name="T63" fmla="*/ 588 h 7604"/>
                <a:gd name="T64" fmla="*/ 1753 w 4355"/>
                <a:gd name="T65" fmla="*/ 425 h 7604"/>
                <a:gd name="T66" fmla="*/ 1718 w 4355"/>
                <a:gd name="T67" fmla="*/ 297 h 7604"/>
                <a:gd name="T68" fmla="*/ 1374 w 4355"/>
                <a:gd name="T69" fmla="*/ 94 h 7604"/>
                <a:gd name="T70" fmla="*/ 1526 w 4355"/>
                <a:gd name="T71" fmla="*/ 128 h 7604"/>
                <a:gd name="T72" fmla="*/ 1613 w 4355"/>
                <a:gd name="T73" fmla="*/ 41 h 7604"/>
                <a:gd name="T74" fmla="*/ 1712 w 4355"/>
                <a:gd name="T75" fmla="*/ 0 h 7604"/>
                <a:gd name="T76" fmla="*/ 1840 w 4355"/>
                <a:gd name="T77" fmla="*/ 204 h 7604"/>
                <a:gd name="T78" fmla="*/ 2235 w 4355"/>
                <a:gd name="T79" fmla="*/ 385 h 7604"/>
                <a:gd name="T80" fmla="*/ 2375 w 4355"/>
                <a:gd name="T81" fmla="*/ 437 h 7604"/>
                <a:gd name="T82" fmla="*/ 2631 w 4355"/>
                <a:gd name="T83" fmla="*/ 507 h 7604"/>
                <a:gd name="T84" fmla="*/ 2957 w 4355"/>
                <a:gd name="T85" fmla="*/ 583 h 7604"/>
                <a:gd name="T86" fmla="*/ 3097 w 4355"/>
                <a:gd name="T87" fmla="*/ 536 h 7604"/>
                <a:gd name="T88" fmla="*/ 3295 w 4355"/>
                <a:gd name="T89" fmla="*/ 425 h 7604"/>
                <a:gd name="T90" fmla="*/ 3242 w 4355"/>
                <a:gd name="T91" fmla="*/ 594 h 7604"/>
                <a:gd name="T92" fmla="*/ 3358 w 4355"/>
                <a:gd name="T93" fmla="*/ 693 h 7604"/>
                <a:gd name="T94" fmla="*/ 3469 w 4355"/>
                <a:gd name="T95" fmla="*/ 542 h 7604"/>
                <a:gd name="T96" fmla="*/ 3737 w 4355"/>
                <a:gd name="T97" fmla="*/ 583 h 7604"/>
                <a:gd name="T98" fmla="*/ 3743 w 4355"/>
                <a:gd name="T99" fmla="*/ 681 h 7604"/>
                <a:gd name="T100" fmla="*/ 3650 w 4355"/>
                <a:gd name="T101" fmla="*/ 932 h 7604"/>
                <a:gd name="T102" fmla="*/ 3539 w 4355"/>
                <a:gd name="T103" fmla="*/ 978 h 7604"/>
                <a:gd name="T104" fmla="*/ 3428 w 4355"/>
                <a:gd name="T105" fmla="*/ 1007 h 7604"/>
                <a:gd name="T106" fmla="*/ 3329 w 4355"/>
                <a:gd name="T107" fmla="*/ 1165 h 7604"/>
                <a:gd name="T108" fmla="*/ 3230 w 4355"/>
                <a:gd name="T109" fmla="*/ 1601 h 7604"/>
                <a:gd name="T110" fmla="*/ 3242 w 4355"/>
                <a:gd name="T111" fmla="*/ 2015 h 7604"/>
                <a:gd name="T112" fmla="*/ 3725 w 4355"/>
                <a:gd name="T113" fmla="*/ 2410 h 7604"/>
                <a:gd name="T114" fmla="*/ 3964 w 4355"/>
                <a:gd name="T115" fmla="*/ 2474 h 7604"/>
                <a:gd name="T116" fmla="*/ 4226 w 4355"/>
                <a:gd name="T117" fmla="*/ 2626 h 7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355" h="7604">
                  <a:moveTo>
                    <a:pt x="1089" y="59"/>
                  </a:moveTo>
                  <a:lnTo>
                    <a:pt x="1089" y="59"/>
                  </a:lnTo>
                  <a:cubicBezTo>
                    <a:pt x="1083" y="105"/>
                    <a:pt x="1089" y="128"/>
                    <a:pt x="1089" y="175"/>
                  </a:cubicBezTo>
                  <a:cubicBezTo>
                    <a:pt x="1077" y="146"/>
                    <a:pt x="1072" y="117"/>
                    <a:pt x="1043" y="117"/>
                  </a:cubicBezTo>
                  <a:cubicBezTo>
                    <a:pt x="1013" y="117"/>
                    <a:pt x="984" y="128"/>
                    <a:pt x="984" y="157"/>
                  </a:cubicBezTo>
                  <a:cubicBezTo>
                    <a:pt x="984" y="181"/>
                    <a:pt x="984" y="192"/>
                    <a:pt x="984" y="210"/>
                  </a:cubicBezTo>
                  <a:cubicBezTo>
                    <a:pt x="967" y="181"/>
                    <a:pt x="978" y="128"/>
                    <a:pt x="944" y="128"/>
                  </a:cubicBezTo>
                  <a:cubicBezTo>
                    <a:pt x="909" y="128"/>
                    <a:pt x="891" y="157"/>
                    <a:pt x="856" y="163"/>
                  </a:cubicBezTo>
                  <a:cubicBezTo>
                    <a:pt x="862" y="187"/>
                    <a:pt x="874" y="198"/>
                    <a:pt x="885" y="227"/>
                  </a:cubicBezTo>
                  <a:cubicBezTo>
                    <a:pt x="874" y="227"/>
                    <a:pt x="874" y="227"/>
                    <a:pt x="874" y="227"/>
                  </a:cubicBezTo>
                  <a:cubicBezTo>
                    <a:pt x="845" y="210"/>
                    <a:pt x="833" y="187"/>
                    <a:pt x="798" y="169"/>
                  </a:cubicBezTo>
                  <a:cubicBezTo>
                    <a:pt x="775" y="163"/>
                    <a:pt x="751" y="157"/>
                    <a:pt x="746" y="128"/>
                  </a:cubicBezTo>
                  <a:cubicBezTo>
                    <a:pt x="769" y="128"/>
                    <a:pt x="769" y="128"/>
                    <a:pt x="769" y="128"/>
                  </a:cubicBezTo>
                  <a:cubicBezTo>
                    <a:pt x="769" y="123"/>
                    <a:pt x="769" y="117"/>
                    <a:pt x="775" y="111"/>
                  </a:cubicBezTo>
                  <a:cubicBezTo>
                    <a:pt x="734" y="105"/>
                    <a:pt x="717" y="76"/>
                    <a:pt x="676" y="59"/>
                  </a:cubicBezTo>
                  <a:cubicBezTo>
                    <a:pt x="676" y="59"/>
                    <a:pt x="670" y="64"/>
                    <a:pt x="670" y="70"/>
                  </a:cubicBezTo>
                  <a:cubicBezTo>
                    <a:pt x="670" y="157"/>
                    <a:pt x="722" y="198"/>
                    <a:pt x="722" y="291"/>
                  </a:cubicBezTo>
                  <a:cubicBezTo>
                    <a:pt x="751" y="291"/>
                    <a:pt x="769" y="297"/>
                    <a:pt x="786" y="309"/>
                  </a:cubicBezTo>
                  <a:cubicBezTo>
                    <a:pt x="815" y="320"/>
                    <a:pt x="804" y="355"/>
                    <a:pt x="827" y="373"/>
                  </a:cubicBezTo>
                  <a:cubicBezTo>
                    <a:pt x="850" y="385"/>
                    <a:pt x="868" y="373"/>
                    <a:pt x="897" y="379"/>
                  </a:cubicBezTo>
                  <a:cubicBezTo>
                    <a:pt x="920" y="390"/>
                    <a:pt x="932" y="408"/>
                    <a:pt x="949" y="431"/>
                  </a:cubicBezTo>
                  <a:cubicBezTo>
                    <a:pt x="967" y="420"/>
                    <a:pt x="967" y="396"/>
                    <a:pt x="984" y="385"/>
                  </a:cubicBezTo>
                  <a:cubicBezTo>
                    <a:pt x="1008" y="367"/>
                    <a:pt x="1037" y="373"/>
                    <a:pt x="1060" y="350"/>
                  </a:cubicBezTo>
                  <a:cubicBezTo>
                    <a:pt x="1095" y="320"/>
                    <a:pt x="1095" y="262"/>
                    <a:pt x="1141" y="262"/>
                  </a:cubicBezTo>
                  <a:cubicBezTo>
                    <a:pt x="1153" y="262"/>
                    <a:pt x="1159" y="268"/>
                    <a:pt x="1171" y="268"/>
                  </a:cubicBezTo>
                  <a:cubicBezTo>
                    <a:pt x="1188" y="233"/>
                    <a:pt x="1217" y="216"/>
                    <a:pt x="1217" y="181"/>
                  </a:cubicBezTo>
                  <a:cubicBezTo>
                    <a:pt x="1217" y="152"/>
                    <a:pt x="1182" y="157"/>
                    <a:pt x="1171" y="134"/>
                  </a:cubicBezTo>
                  <a:cubicBezTo>
                    <a:pt x="1141" y="99"/>
                    <a:pt x="1130" y="76"/>
                    <a:pt x="1089" y="59"/>
                  </a:cubicBezTo>
                  <a:close/>
                  <a:moveTo>
                    <a:pt x="664" y="169"/>
                  </a:moveTo>
                  <a:lnTo>
                    <a:pt x="664" y="169"/>
                  </a:lnTo>
                  <a:cubicBezTo>
                    <a:pt x="676" y="210"/>
                    <a:pt x="652" y="227"/>
                    <a:pt x="647" y="268"/>
                  </a:cubicBezTo>
                  <a:cubicBezTo>
                    <a:pt x="664" y="268"/>
                    <a:pt x="682" y="262"/>
                    <a:pt x="693" y="274"/>
                  </a:cubicBezTo>
                  <a:cubicBezTo>
                    <a:pt x="687" y="297"/>
                    <a:pt x="687" y="297"/>
                    <a:pt x="687" y="297"/>
                  </a:cubicBezTo>
                  <a:cubicBezTo>
                    <a:pt x="687" y="303"/>
                    <a:pt x="687" y="309"/>
                    <a:pt x="687" y="315"/>
                  </a:cubicBezTo>
                  <a:cubicBezTo>
                    <a:pt x="728" y="320"/>
                    <a:pt x="751" y="332"/>
                    <a:pt x="781" y="361"/>
                  </a:cubicBezTo>
                  <a:cubicBezTo>
                    <a:pt x="769" y="367"/>
                    <a:pt x="757" y="379"/>
                    <a:pt x="740" y="379"/>
                  </a:cubicBezTo>
                  <a:cubicBezTo>
                    <a:pt x="687" y="379"/>
                    <a:pt x="658" y="350"/>
                    <a:pt x="606" y="350"/>
                  </a:cubicBezTo>
                  <a:cubicBezTo>
                    <a:pt x="571" y="350"/>
                    <a:pt x="554" y="361"/>
                    <a:pt x="524" y="367"/>
                  </a:cubicBezTo>
                  <a:cubicBezTo>
                    <a:pt x="530" y="350"/>
                    <a:pt x="530" y="332"/>
                    <a:pt x="536" y="315"/>
                  </a:cubicBezTo>
                  <a:cubicBezTo>
                    <a:pt x="554" y="315"/>
                    <a:pt x="554" y="315"/>
                    <a:pt x="554" y="315"/>
                  </a:cubicBezTo>
                  <a:cubicBezTo>
                    <a:pt x="559" y="315"/>
                    <a:pt x="565" y="320"/>
                    <a:pt x="571" y="320"/>
                  </a:cubicBezTo>
                  <a:cubicBezTo>
                    <a:pt x="594" y="320"/>
                    <a:pt x="623" y="326"/>
                    <a:pt x="623" y="303"/>
                  </a:cubicBezTo>
                  <a:cubicBezTo>
                    <a:pt x="623" y="268"/>
                    <a:pt x="594" y="262"/>
                    <a:pt x="583" y="233"/>
                  </a:cubicBezTo>
                  <a:cubicBezTo>
                    <a:pt x="594" y="210"/>
                    <a:pt x="594" y="210"/>
                    <a:pt x="594" y="210"/>
                  </a:cubicBezTo>
                  <a:cubicBezTo>
                    <a:pt x="583" y="210"/>
                    <a:pt x="577" y="204"/>
                    <a:pt x="571" y="204"/>
                  </a:cubicBezTo>
                  <a:cubicBezTo>
                    <a:pt x="577" y="192"/>
                    <a:pt x="577" y="192"/>
                    <a:pt x="577" y="192"/>
                  </a:cubicBezTo>
                  <a:cubicBezTo>
                    <a:pt x="612" y="175"/>
                    <a:pt x="623" y="152"/>
                    <a:pt x="647" y="128"/>
                  </a:cubicBezTo>
                  <a:cubicBezTo>
                    <a:pt x="658" y="140"/>
                    <a:pt x="664" y="152"/>
                    <a:pt x="664" y="169"/>
                  </a:cubicBezTo>
                  <a:close/>
                  <a:moveTo>
                    <a:pt x="3591" y="1374"/>
                  </a:moveTo>
                  <a:lnTo>
                    <a:pt x="3591" y="1374"/>
                  </a:lnTo>
                  <a:cubicBezTo>
                    <a:pt x="3591" y="1392"/>
                    <a:pt x="3597" y="1403"/>
                    <a:pt x="3597" y="1421"/>
                  </a:cubicBezTo>
                  <a:cubicBezTo>
                    <a:pt x="3597" y="1467"/>
                    <a:pt x="3591" y="1496"/>
                    <a:pt x="3586" y="1549"/>
                  </a:cubicBezTo>
                  <a:cubicBezTo>
                    <a:pt x="3667" y="1549"/>
                    <a:pt x="3708" y="1595"/>
                    <a:pt x="3789" y="1595"/>
                  </a:cubicBezTo>
                  <a:cubicBezTo>
                    <a:pt x="3801" y="1595"/>
                    <a:pt x="3813" y="1590"/>
                    <a:pt x="3824" y="1595"/>
                  </a:cubicBezTo>
                  <a:cubicBezTo>
                    <a:pt x="3824" y="1578"/>
                    <a:pt x="3824" y="1566"/>
                    <a:pt x="3824" y="1549"/>
                  </a:cubicBezTo>
                  <a:cubicBezTo>
                    <a:pt x="3818" y="1543"/>
                    <a:pt x="3818" y="1543"/>
                    <a:pt x="3818" y="1543"/>
                  </a:cubicBezTo>
                  <a:cubicBezTo>
                    <a:pt x="3807" y="1555"/>
                    <a:pt x="3801" y="1566"/>
                    <a:pt x="3784" y="1566"/>
                  </a:cubicBezTo>
                  <a:cubicBezTo>
                    <a:pt x="3772" y="1566"/>
                    <a:pt x="3772" y="1549"/>
                    <a:pt x="3766" y="1549"/>
                  </a:cubicBezTo>
                  <a:cubicBezTo>
                    <a:pt x="3754" y="1549"/>
                    <a:pt x="3749" y="1555"/>
                    <a:pt x="3743" y="1555"/>
                  </a:cubicBezTo>
                  <a:cubicBezTo>
                    <a:pt x="3720" y="1555"/>
                    <a:pt x="3708" y="1537"/>
                    <a:pt x="3708" y="1520"/>
                  </a:cubicBezTo>
                  <a:cubicBezTo>
                    <a:pt x="3708" y="1491"/>
                    <a:pt x="3731" y="1491"/>
                    <a:pt x="3743" y="1467"/>
                  </a:cubicBezTo>
                  <a:cubicBezTo>
                    <a:pt x="3725" y="1461"/>
                    <a:pt x="3708" y="1450"/>
                    <a:pt x="3708" y="1432"/>
                  </a:cubicBezTo>
                  <a:cubicBezTo>
                    <a:pt x="3708" y="1421"/>
                    <a:pt x="3714" y="1415"/>
                    <a:pt x="3714" y="1403"/>
                  </a:cubicBezTo>
                  <a:cubicBezTo>
                    <a:pt x="3725" y="1403"/>
                    <a:pt x="3731" y="1403"/>
                    <a:pt x="3743" y="1403"/>
                  </a:cubicBezTo>
                  <a:cubicBezTo>
                    <a:pt x="3778" y="1403"/>
                    <a:pt x="3824" y="1386"/>
                    <a:pt x="3754" y="1386"/>
                  </a:cubicBezTo>
                  <a:cubicBezTo>
                    <a:pt x="3731" y="1386"/>
                    <a:pt x="3708" y="1368"/>
                    <a:pt x="3708" y="1345"/>
                  </a:cubicBezTo>
                  <a:cubicBezTo>
                    <a:pt x="3708" y="1328"/>
                    <a:pt x="3720" y="1322"/>
                    <a:pt x="3720" y="1304"/>
                  </a:cubicBezTo>
                  <a:cubicBezTo>
                    <a:pt x="3720" y="1281"/>
                    <a:pt x="3690" y="1328"/>
                    <a:pt x="3679" y="1345"/>
                  </a:cubicBezTo>
                  <a:cubicBezTo>
                    <a:pt x="3661" y="1374"/>
                    <a:pt x="3626" y="1374"/>
                    <a:pt x="3591" y="1374"/>
                  </a:cubicBezTo>
                  <a:close/>
                  <a:moveTo>
                    <a:pt x="3498" y="1298"/>
                  </a:moveTo>
                  <a:lnTo>
                    <a:pt x="3498" y="1298"/>
                  </a:lnTo>
                  <a:cubicBezTo>
                    <a:pt x="3487" y="1293"/>
                    <a:pt x="3481" y="1293"/>
                    <a:pt x="3469" y="1287"/>
                  </a:cubicBezTo>
                  <a:cubicBezTo>
                    <a:pt x="3463" y="1298"/>
                    <a:pt x="3463" y="1304"/>
                    <a:pt x="3463" y="1310"/>
                  </a:cubicBezTo>
                  <a:cubicBezTo>
                    <a:pt x="3463" y="1339"/>
                    <a:pt x="3475" y="1351"/>
                    <a:pt x="3492" y="1374"/>
                  </a:cubicBezTo>
                  <a:cubicBezTo>
                    <a:pt x="3492" y="1345"/>
                    <a:pt x="3504" y="1328"/>
                    <a:pt x="3498" y="1298"/>
                  </a:cubicBezTo>
                  <a:close/>
                  <a:moveTo>
                    <a:pt x="3894" y="2306"/>
                  </a:moveTo>
                  <a:lnTo>
                    <a:pt x="3894" y="2306"/>
                  </a:lnTo>
                  <a:cubicBezTo>
                    <a:pt x="3883" y="2288"/>
                    <a:pt x="3883" y="2265"/>
                    <a:pt x="3859" y="2265"/>
                  </a:cubicBezTo>
                  <a:cubicBezTo>
                    <a:pt x="3847" y="2265"/>
                    <a:pt x="3836" y="2271"/>
                    <a:pt x="3824" y="2282"/>
                  </a:cubicBezTo>
                  <a:cubicBezTo>
                    <a:pt x="3847" y="2317"/>
                    <a:pt x="3865" y="2329"/>
                    <a:pt x="3894" y="2352"/>
                  </a:cubicBezTo>
                  <a:cubicBezTo>
                    <a:pt x="3894" y="2346"/>
                    <a:pt x="3900" y="2341"/>
                    <a:pt x="3900" y="2335"/>
                  </a:cubicBezTo>
                  <a:cubicBezTo>
                    <a:pt x="3900" y="2329"/>
                    <a:pt x="3894" y="2311"/>
                    <a:pt x="3894" y="2306"/>
                  </a:cubicBezTo>
                  <a:close/>
                  <a:moveTo>
                    <a:pt x="4348" y="2742"/>
                  </a:moveTo>
                  <a:lnTo>
                    <a:pt x="4348" y="2742"/>
                  </a:lnTo>
                  <a:lnTo>
                    <a:pt x="4348" y="2742"/>
                  </a:lnTo>
                  <a:cubicBezTo>
                    <a:pt x="4354" y="7603"/>
                    <a:pt x="4354" y="7603"/>
                    <a:pt x="4354" y="7603"/>
                  </a:cubicBezTo>
                  <a:lnTo>
                    <a:pt x="4354" y="7603"/>
                  </a:lnTo>
                  <a:cubicBezTo>
                    <a:pt x="24" y="7586"/>
                    <a:pt x="24" y="7586"/>
                    <a:pt x="24" y="7586"/>
                  </a:cubicBezTo>
                  <a:lnTo>
                    <a:pt x="24" y="7586"/>
                  </a:lnTo>
                  <a:cubicBezTo>
                    <a:pt x="0" y="1904"/>
                    <a:pt x="0" y="1904"/>
                    <a:pt x="0" y="1904"/>
                  </a:cubicBezTo>
                  <a:lnTo>
                    <a:pt x="0" y="1904"/>
                  </a:lnTo>
                  <a:cubicBezTo>
                    <a:pt x="53" y="1921"/>
                    <a:pt x="88" y="1956"/>
                    <a:pt x="88" y="2015"/>
                  </a:cubicBezTo>
                  <a:cubicBezTo>
                    <a:pt x="88" y="2137"/>
                    <a:pt x="88" y="2015"/>
                    <a:pt x="146" y="2015"/>
                  </a:cubicBezTo>
                  <a:cubicBezTo>
                    <a:pt x="140" y="1980"/>
                    <a:pt x="117" y="1962"/>
                    <a:pt x="117" y="1927"/>
                  </a:cubicBezTo>
                  <a:cubicBezTo>
                    <a:pt x="117" y="1916"/>
                    <a:pt x="117" y="1910"/>
                    <a:pt x="117" y="1898"/>
                  </a:cubicBezTo>
                  <a:cubicBezTo>
                    <a:pt x="123" y="1892"/>
                    <a:pt x="129" y="1892"/>
                    <a:pt x="134" y="1892"/>
                  </a:cubicBezTo>
                  <a:cubicBezTo>
                    <a:pt x="140" y="1892"/>
                    <a:pt x="146" y="1898"/>
                    <a:pt x="152" y="1898"/>
                  </a:cubicBezTo>
                  <a:cubicBezTo>
                    <a:pt x="175" y="1892"/>
                    <a:pt x="175" y="1892"/>
                    <a:pt x="175" y="1892"/>
                  </a:cubicBezTo>
                  <a:cubicBezTo>
                    <a:pt x="192" y="1921"/>
                    <a:pt x="210" y="1933"/>
                    <a:pt x="245" y="1945"/>
                  </a:cubicBezTo>
                  <a:cubicBezTo>
                    <a:pt x="268" y="1956"/>
                    <a:pt x="268" y="1985"/>
                    <a:pt x="292" y="1997"/>
                  </a:cubicBezTo>
                  <a:cubicBezTo>
                    <a:pt x="338" y="2038"/>
                    <a:pt x="402" y="2050"/>
                    <a:pt x="379" y="2044"/>
                  </a:cubicBezTo>
                  <a:cubicBezTo>
                    <a:pt x="379" y="2026"/>
                    <a:pt x="355" y="2032"/>
                    <a:pt x="344" y="2015"/>
                  </a:cubicBezTo>
                  <a:cubicBezTo>
                    <a:pt x="321" y="1997"/>
                    <a:pt x="326" y="1974"/>
                    <a:pt x="321" y="1945"/>
                  </a:cubicBezTo>
                  <a:cubicBezTo>
                    <a:pt x="315" y="1927"/>
                    <a:pt x="297" y="1916"/>
                    <a:pt x="297" y="1898"/>
                  </a:cubicBezTo>
                  <a:cubicBezTo>
                    <a:pt x="297" y="1881"/>
                    <a:pt x="297" y="1881"/>
                    <a:pt x="297" y="1881"/>
                  </a:cubicBezTo>
                  <a:cubicBezTo>
                    <a:pt x="367" y="1881"/>
                    <a:pt x="367" y="1881"/>
                    <a:pt x="367" y="1881"/>
                  </a:cubicBezTo>
                  <a:cubicBezTo>
                    <a:pt x="379" y="1881"/>
                    <a:pt x="385" y="1869"/>
                    <a:pt x="391" y="1869"/>
                  </a:cubicBezTo>
                  <a:cubicBezTo>
                    <a:pt x="396" y="1869"/>
                    <a:pt x="402" y="1875"/>
                    <a:pt x="408" y="1875"/>
                  </a:cubicBezTo>
                  <a:cubicBezTo>
                    <a:pt x="431" y="1875"/>
                    <a:pt x="443" y="1846"/>
                    <a:pt x="466" y="1846"/>
                  </a:cubicBezTo>
                  <a:cubicBezTo>
                    <a:pt x="460" y="1840"/>
                    <a:pt x="460" y="1828"/>
                    <a:pt x="449" y="1828"/>
                  </a:cubicBezTo>
                  <a:cubicBezTo>
                    <a:pt x="420" y="1828"/>
                    <a:pt x="408" y="1840"/>
                    <a:pt x="379" y="1840"/>
                  </a:cubicBezTo>
                  <a:cubicBezTo>
                    <a:pt x="361" y="1840"/>
                    <a:pt x="350" y="1840"/>
                    <a:pt x="332" y="1840"/>
                  </a:cubicBezTo>
                  <a:cubicBezTo>
                    <a:pt x="332" y="1822"/>
                    <a:pt x="332" y="1811"/>
                    <a:pt x="332" y="1793"/>
                  </a:cubicBezTo>
                  <a:cubicBezTo>
                    <a:pt x="332" y="1758"/>
                    <a:pt x="367" y="1758"/>
                    <a:pt x="379" y="1729"/>
                  </a:cubicBezTo>
                  <a:cubicBezTo>
                    <a:pt x="373" y="1729"/>
                    <a:pt x="367" y="1724"/>
                    <a:pt x="361" y="1724"/>
                  </a:cubicBezTo>
                  <a:cubicBezTo>
                    <a:pt x="350" y="1724"/>
                    <a:pt x="338" y="1729"/>
                    <a:pt x="326" y="1735"/>
                  </a:cubicBezTo>
                  <a:cubicBezTo>
                    <a:pt x="309" y="1706"/>
                    <a:pt x="280" y="1712"/>
                    <a:pt x="251" y="1694"/>
                  </a:cubicBezTo>
                  <a:cubicBezTo>
                    <a:pt x="216" y="1671"/>
                    <a:pt x="198" y="1636"/>
                    <a:pt x="198" y="1590"/>
                  </a:cubicBezTo>
                  <a:cubicBezTo>
                    <a:pt x="198" y="1561"/>
                    <a:pt x="216" y="1537"/>
                    <a:pt x="245" y="1520"/>
                  </a:cubicBezTo>
                  <a:cubicBezTo>
                    <a:pt x="268" y="1531"/>
                    <a:pt x="268" y="1531"/>
                    <a:pt x="268" y="1531"/>
                  </a:cubicBezTo>
                  <a:cubicBezTo>
                    <a:pt x="292" y="1479"/>
                    <a:pt x="367" y="1473"/>
                    <a:pt x="367" y="1415"/>
                  </a:cubicBezTo>
                  <a:cubicBezTo>
                    <a:pt x="367" y="1386"/>
                    <a:pt x="385" y="1374"/>
                    <a:pt x="396" y="1351"/>
                  </a:cubicBezTo>
                  <a:cubicBezTo>
                    <a:pt x="408" y="1310"/>
                    <a:pt x="396" y="1287"/>
                    <a:pt x="396" y="1246"/>
                  </a:cubicBezTo>
                  <a:cubicBezTo>
                    <a:pt x="396" y="1223"/>
                    <a:pt x="402" y="1205"/>
                    <a:pt x="420" y="1194"/>
                  </a:cubicBezTo>
                  <a:cubicBezTo>
                    <a:pt x="437" y="1205"/>
                    <a:pt x="449" y="1217"/>
                    <a:pt x="466" y="1217"/>
                  </a:cubicBezTo>
                  <a:cubicBezTo>
                    <a:pt x="524" y="1217"/>
                    <a:pt x="542" y="1159"/>
                    <a:pt x="594" y="1141"/>
                  </a:cubicBezTo>
                  <a:cubicBezTo>
                    <a:pt x="606" y="1159"/>
                    <a:pt x="612" y="1165"/>
                    <a:pt x="623" y="1182"/>
                  </a:cubicBezTo>
                  <a:cubicBezTo>
                    <a:pt x="635" y="1182"/>
                    <a:pt x="635" y="1182"/>
                    <a:pt x="635" y="1182"/>
                  </a:cubicBezTo>
                  <a:cubicBezTo>
                    <a:pt x="629" y="1170"/>
                    <a:pt x="618" y="1159"/>
                    <a:pt x="618" y="1141"/>
                  </a:cubicBezTo>
                  <a:cubicBezTo>
                    <a:pt x="618" y="1130"/>
                    <a:pt x="629" y="1124"/>
                    <a:pt x="629" y="1112"/>
                  </a:cubicBezTo>
                  <a:cubicBezTo>
                    <a:pt x="629" y="1054"/>
                    <a:pt x="554" y="1042"/>
                    <a:pt x="554" y="984"/>
                  </a:cubicBezTo>
                  <a:cubicBezTo>
                    <a:pt x="554" y="961"/>
                    <a:pt x="565" y="943"/>
                    <a:pt x="565" y="920"/>
                  </a:cubicBezTo>
                  <a:lnTo>
                    <a:pt x="571" y="914"/>
                  </a:lnTo>
                  <a:cubicBezTo>
                    <a:pt x="588" y="914"/>
                    <a:pt x="594" y="926"/>
                    <a:pt x="606" y="926"/>
                  </a:cubicBezTo>
                  <a:cubicBezTo>
                    <a:pt x="658" y="926"/>
                    <a:pt x="664" y="862"/>
                    <a:pt x="664" y="815"/>
                  </a:cubicBezTo>
                  <a:cubicBezTo>
                    <a:pt x="676" y="804"/>
                    <a:pt x="682" y="786"/>
                    <a:pt x="693" y="786"/>
                  </a:cubicBezTo>
                  <a:cubicBezTo>
                    <a:pt x="740" y="786"/>
                    <a:pt x="751" y="833"/>
                    <a:pt x="792" y="833"/>
                  </a:cubicBezTo>
                  <a:cubicBezTo>
                    <a:pt x="810" y="833"/>
                    <a:pt x="821" y="833"/>
                    <a:pt x="839" y="833"/>
                  </a:cubicBezTo>
                  <a:cubicBezTo>
                    <a:pt x="845" y="827"/>
                    <a:pt x="845" y="821"/>
                    <a:pt x="850" y="821"/>
                  </a:cubicBezTo>
                  <a:cubicBezTo>
                    <a:pt x="827" y="792"/>
                    <a:pt x="781" y="798"/>
                    <a:pt x="781" y="763"/>
                  </a:cubicBezTo>
                  <a:cubicBezTo>
                    <a:pt x="781" y="751"/>
                    <a:pt x="763" y="751"/>
                    <a:pt x="763" y="740"/>
                  </a:cubicBezTo>
                  <a:cubicBezTo>
                    <a:pt x="763" y="711"/>
                    <a:pt x="781" y="699"/>
                    <a:pt x="781" y="670"/>
                  </a:cubicBezTo>
                  <a:cubicBezTo>
                    <a:pt x="821" y="681"/>
                    <a:pt x="850" y="705"/>
                    <a:pt x="868" y="746"/>
                  </a:cubicBezTo>
                  <a:cubicBezTo>
                    <a:pt x="874" y="746"/>
                    <a:pt x="874" y="746"/>
                    <a:pt x="874" y="746"/>
                  </a:cubicBezTo>
                  <a:cubicBezTo>
                    <a:pt x="880" y="740"/>
                    <a:pt x="880" y="740"/>
                    <a:pt x="880" y="740"/>
                  </a:cubicBezTo>
                  <a:cubicBezTo>
                    <a:pt x="891" y="746"/>
                    <a:pt x="897" y="751"/>
                    <a:pt x="909" y="763"/>
                  </a:cubicBezTo>
                  <a:cubicBezTo>
                    <a:pt x="920" y="769"/>
                    <a:pt x="920" y="769"/>
                    <a:pt x="920" y="769"/>
                  </a:cubicBezTo>
                  <a:cubicBezTo>
                    <a:pt x="920" y="757"/>
                    <a:pt x="920" y="751"/>
                    <a:pt x="920" y="746"/>
                  </a:cubicBezTo>
                  <a:cubicBezTo>
                    <a:pt x="926" y="740"/>
                    <a:pt x="926" y="740"/>
                    <a:pt x="926" y="740"/>
                  </a:cubicBezTo>
                  <a:cubicBezTo>
                    <a:pt x="938" y="746"/>
                    <a:pt x="944" y="746"/>
                    <a:pt x="949" y="751"/>
                  </a:cubicBezTo>
                  <a:cubicBezTo>
                    <a:pt x="955" y="746"/>
                    <a:pt x="955" y="740"/>
                    <a:pt x="955" y="734"/>
                  </a:cubicBezTo>
                  <a:cubicBezTo>
                    <a:pt x="955" y="693"/>
                    <a:pt x="920" y="681"/>
                    <a:pt x="920" y="641"/>
                  </a:cubicBezTo>
                  <a:cubicBezTo>
                    <a:pt x="920" y="623"/>
                    <a:pt x="920" y="623"/>
                    <a:pt x="920" y="623"/>
                  </a:cubicBezTo>
                  <a:cubicBezTo>
                    <a:pt x="955" y="617"/>
                    <a:pt x="973" y="606"/>
                    <a:pt x="1008" y="600"/>
                  </a:cubicBezTo>
                  <a:cubicBezTo>
                    <a:pt x="1025" y="600"/>
                    <a:pt x="1043" y="606"/>
                    <a:pt x="1060" y="588"/>
                  </a:cubicBezTo>
                  <a:cubicBezTo>
                    <a:pt x="1077" y="565"/>
                    <a:pt x="1072" y="542"/>
                    <a:pt x="1095" y="518"/>
                  </a:cubicBezTo>
                  <a:cubicBezTo>
                    <a:pt x="1095" y="577"/>
                    <a:pt x="1159" y="594"/>
                    <a:pt x="1217" y="594"/>
                  </a:cubicBezTo>
                  <a:cubicBezTo>
                    <a:pt x="1270" y="594"/>
                    <a:pt x="1270" y="594"/>
                    <a:pt x="1270" y="594"/>
                  </a:cubicBezTo>
                  <a:cubicBezTo>
                    <a:pt x="1281" y="594"/>
                    <a:pt x="1287" y="600"/>
                    <a:pt x="1304" y="600"/>
                  </a:cubicBezTo>
                  <a:cubicBezTo>
                    <a:pt x="1334" y="600"/>
                    <a:pt x="1345" y="588"/>
                    <a:pt x="1369" y="588"/>
                  </a:cubicBezTo>
                  <a:cubicBezTo>
                    <a:pt x="1403" y="588"/>
                    <a:pt x="1415" y="617"/>
                    <a:pt x="1444" y="617"/>
                  </a:cubicBezTo>
                  <a:cubicBezTo>
                    <a:pt x="1497" y="617"/>
                    <a:pt x="1520" y="571"/>
                    <a:pt x="1572" y="559"/>
                  </a:cubicBezTo>
                  <a:cubicBezTo>
                    <a:pt x="1613" y="548"/>
                    <a:pt x="1636" y="536"/>
                    <a:pt x="1677" y="530"/>
                  </a:cubicBezTo>
                  <a:cubicBezTo>
                    <a:pt x="1706" y="524"/>
                    <a:pt x="1741" y="530"/>
                    <a:pt x="1753" y="507"/>
                  </a:cubicBezTo>
                  <a:cubicBezTo>
                    <a:pt x="1758" y="478"/>
                    <a:pt x="1753" y="454"/>
                    <a:pt x="1753" y="425"/>
                  </a:cubicBezTo>
                  <a:cubicBezTo>
                    <a:pt x="1753" y="344"/>
                    <a:pt x="1753" y="344"/>
                    <a:pt x="1753" y="344"/>
                  </a:cubicBezTo>
                  <a:cubicBezTo>
                    <a:pt x="1753" y="315"/>
                    <a:pt x="1776" y="303"/>
                    <a:pt x="1799" y="280"/>
                  </a:cubicBezTo>
                  <a:cubicBezTo>
                    <a:pt x="1793" y="280"/>
                    <a:pt x="1793" y="274"/>
                    <a:pt x="1788" y="274"/>
                  </a:cubicBezTo>
                  <a:cubicBezTo>
                    <a:pt x="1758" y="274"/>
                    <a:pt x="1747" y="297"/>
                    <a:pt x="1724" y="303"/>
                  </a:cubicBezTo>
                  <a:lnTo>
                    <a:pt x="1718" y="297"/>
                  </a:lnTo>
                  <a:cubicBezTo>
                    <a:pt x="1718" y="274"/>
                    <a:pt x="1735" y="262"/>
                    <a:pt x="1735" y="245"/>
                  </a:cubicBezTo>
                  <a:cubicBezTo>
                    <a:pt x="1735" y="192"/>
                    <a:pt x="1677" y="181"/>
                    <a:pt x="1630" y="181"/>
                  </a:cubicBezTo>
                  <a:cubicBezTo>
                    <a:pt x="1572" y="181"/>
                    <a:pt x="1543" y="210"/>
                    <a:pt x="1485" y="239"/>
                  </a:cubicBezTo>
                  <a:cubicBezTo>
                    <a:pt x="1479" y="192"/>
                    <a:pt x="1456" y="169"/>
                    <a:pt x="1421" y="140"/>
                  </a:cubicBezTo>
                  <a:cubicBezTo>
                    <a:pt x="1403" y="123"/>
                    <a:pt x="1374" y="117"/>
                    <a:pt x="1374" y="94"/>
                  </a:cubicBezTo>
                  <a:cubicBezTo>
                    <a:pt x="1374" y="82"/>
                    <a:pt x="1374" y="76"/>
                    <a:pt x="1374" y="64"/>
                  </a:cubicBezTo>
                  <a:cubicBezTo>
                    <a:pt x="1398" y="64"/>
                    <a:pt x="1398" y="64"/>
                    <a:pt x="1398" y="64"/>
                  </a:cubicBezTo>
                  <a:cubicBezTo>
                    <a:pt x="1409" y="64"/>
                    <a:pt x="1415" y="70"/>
                    <a:pt x="1421" y="70"/>
                  </a:cubicBezTo>
                  <a:cubicBezTo>
                    <a:pt x="1438" y="70"/>
                    <a:pt x="1438" y="47"/>
                    <a:pt x="1456" y="47"/>
                  </a:cubicBezTo>
                  <a:cubicBezTo>
                    <a:pt x="1497" y="47"/>
                    <a:pt x="1497" y="99"/>
                    <a:pt x="1526" y="128"/>
                  </a:cubicBezTo>
                  <a:lnTo>
                    <a:pt x="1532" y="123"/>
                  </a:lnTo>
                  <a:cubicBezTo>
                    <a:pt x="1532" y="111"/>
                    <a:pt x="1526" y="105"/>
                    <a:pt x="1526" y="94"/>
                  </a:cubicBezTo>
                  <a:cubicBezTo>
                    <a:pt x="1526" y="70"/>
                    <a:pt x="1532" y="53"/>
                    <a:pt x="1549" y="35"/>
                  </a:cubicBezTo>
                  <a:cubicBezTo>
                    <a:pt x="1561" y="47"/>
                    <a:pt x="1566" y="53"/>
                    <a:pt x="1578" y="53"/>
                  </a:cubicBezTo>
                  <a:cubicBezTo>
                    <a:pt x="1590" y="53"/>
                    <a:pt x="1601" y="41"/>
                    <a:pt x="1613" y="41"/>
                  </a:cubicBezTo>
                  <a:cubicBezTo>
                    <a:pt x="1636" y="41"/>
                    <a:pt x="1630" y="64"/>
                    <a:pt x="1642" y="82"/>
                  </a:cubicBezTo>
                  <a:cubicBezTo>
                    <a:pt x="1660" y="99"/>
                    <a:pt x="1677" y="94"/>
                    <a:pt x="1695" y="105"/>
                  </a:cubicBezTo>
                  <a:cubicBezTo>
                    <a:pt x="1695" y="99"/>
                    <a:pt x="1700" y="99"/>
                    <a:pt x="1700" y="94"/>
                  </a:cubicBezTo>
                  <a:cubicBezTo>
                    <a:pt x="1700" y="70"/>
                    <a:pt x="1683" y="59"/>
                    <a:pt x="1683" y="29"/>
                  </a:cubicBezTo>
                  <a:cubicBezTo>
                    <a:pt x="1683" y="18"/>
                    <a:pt x="1700" y="12"/>
                    <a:pt x="1712" y="0"/>
                  </a:cubicBezTo>
                  <a:cubicBezTo>
                    <a:pt x="1729" y="18"/>
                    <a:pt x="1724" y="35"/>
                    <a:pt x="1724" y="53"/>
                  </a:cubicBezTo>
                  <a:cubicBezTo>
                    <a:pt x="1724" y="117"/>
                    <a:pt x="1724" y="117"/>
                    <a:pt x="1724" y="117"/>
                  </a:cubicBezTo>
                  <a:cubicBezTo>
                    <a:pt x="1724" y="140"/>
                    <a:pt x="1729" y="157"/>
                    <a:pt x="1747" y="169"/>
                  </a:cubicBezTo>
                  <a:cubicBezTo>
                    <a:pt x="1770" y="181"/>
                    <a:pt x="1753" y="216"/>
                    <a:pt x="1776" y="216"/>
                  </a:cubicBezTo>
                  <a:cubicBezTo>
                    <a:pt x="1805" y="216"/>
                    <a:pt x="1823" y="222"/>
                    <a:pt x="1840" y="204"/>
                  </a:cubicBezTo>
                  <a:cubicBezTo>
                    <a:pt x="1858" y="192"/>
                    <a:pt x="1846" y="157"/>
                    <a:pt x="1869" y="157"/>
                  </a:cubicBezTo>
                  <a:cubicBezTo>
                    <a:pt x="1968" y="157"/>
                    <a:pt x="1945" y="332"/>
                    <a:pt x="2044" y="332"/>
                  </a:cubicBezTo>
                  <a:cubicBezTo>
                    <a:pt x="2061" y="332"/>
                    <a:pt x="2073" y="332"/>
                    <a:pt x="2089" y="332"/>
                  </a:cubicBezTo>
                  <a:cubicBezTo>
                    <a:pt x="2107" y="332"/>
                    <a:pt x="2118" y="350"/>
                    <a:pt x="2136" y="361"/>
                  </a:cubicBezTo>
                  <a:cubicBezTo>
                    <a:pt x="2171" y="379"/>
                    <a:pt x="2194" y="385"/>
                    <a:pt x="2235" y="385"/>
                  </a:cubicBezTo>
                  <a:cubicBezTo>
                    <a:pt x="2252" y="385"/>
                    <a:pt x="2252" y="373"/>
                    <a:pt x="2264" y="361"/>
                  </a:cubicBezTo>
                  <a:cubicBezTo>
                    <a:pt x="2282" y="332"/>
                    <a:pt x="2305" y="338"/>
                    <a:pt x="2340" y="332"/>
                  </a:cubicBezTo>
                  <a:cubicBezTo>
                    <a:pt x="2340" y="338"/>
                    <a:pt x="2346" y="338"/>
                    <a:pt x="2346" y="344"/>
                  </a:cubicBezTo>
                  <a:cubicBezTo>
                    <a:pt x="2346" y="361"/>
                    <a:pt x="2317" y="367"/>
                    <a:pt x="2317" y="390"/>
                  </a:cubicBezTo>
                  <a:cubicBezTo>
                    <a:pt x="2317" y="420"/>
                    <a:pt x="2346" y="437"/>
                    <a:pt x="2375" y="437"/>
                  </a:cubicBezTo>
                  <a:cubicBezTo>
                    <a:pt x="2398" y="437"/>
                    <a:pt x="2404" y="414"/>
                    <a:pt x="2421" y="414"/>
                  </a:cubicBezTo>
                  <a:cubicBezTo>
                    <a:pt x="2462" y="414"/>
                    <a:pt x="2485" y="460"/>
                    <a:pt x="2485" y="507"/>
                  </a:cubicBezTo>
                  <a:cubicBezTo>
                    <a:pt x="2485" y="507"/>
                    <a:pt x="2491" y="513"/>
                    <a:pt x="2497" y="513"/>
                  </a:cubicBezTo>
                  <a:cubicBezTo>
                    <a:pt x="2503" y="495"/>
                    <a:pt x="2503" y="466"/>
                    <a:pt x="2526" y="466"/>
                  </a:cubicBezTo>
                  <a:cubicBezTo>
                    <a:pt x="2567" y="466"/>
                    <a:pt x="2584" y="507"/>
                    <a:pt x="2631" y="507"/>
                  </a:cubicBezTo>
                  <a:cubicBezTo>
                    <a:pt x="2683" y="507"/>
                    <a:pt x="2683" y="507"/>
                    <a:pt x="2683" y="507"/>
                  </a:cubicBezTo>
                  <a:cubicBezTo>
                    <a:pt x="2718" y="507"/>
                    <a:pt x="2724" y="466"/>
                    <a:pt x="2759" y="449"/>
                  </a:cubicBezTo>
                  <a:cubicBezTo>
                    <a:pt x="2794" y="507"/>
                    <a:pt x="2840" y="518"/>
                    <a:pt x="2887" y="553"/>
                  </a:cubicBezTo>
                  <a:cubicBezTo>
                    <a:pt x="2904" y="565"/>
                    <a:pt x="2899" y="594"/>
                    <a:pt x="2922" y="594"/>
                  </a:cubicBezTo>
                  <a:cubicBezTo>
                    <a:pt x="2934" y="594"/>
                    <a:pt x="2939" y="583"/>
                    <a:pt x="2957" y="583"/>
                  </a:cubicBezTo>
                  <a:cubicBezTo>
                    <a:pt x="2980" y="583"/>
                    <a:pt x="2992" y="612"/>
                    <a:pt x="3015" y="612"/>
                  </a:cubicBezTo>
                  <a:cubicBezTo>
                    <a:pt x="3038" y="612"/>
                    <a:pt x="3044" y="588"/>
                    <a:pt x="3062" y="577"/>
                  </a:cubicBezTo>
                  <a:cubicBezTo>
                    <a:pt x="3050" y="571"/>
                    <a:pt x="3038" y="571"/>
                    <a:pt x="3027" y="577"/>
                  </a:cubicBezTo>
                  <a:cubicBezTo>
                    <a:pt x="3032" y="548"/>
                    <a:pt x="3056" y="548"/>
                    <a:pt x="3067" y="524"/>
                  </a:cubicBezTo>
                  <a:cubicBezTo>
                    <a:pt x="3079" y="530"/>
                    <a:pt x="3085" y="536"/>
                    <a:pt x="3097" y="536"/>
                  </a:cubicBezTo>
                  <a:cubicBezTo>
                    <a:pt x="3120" y="536"/>
                    <a:pt x="3120" y="489"/>
                    <a:pt x="3143" y="489"/>
                  </a:cubicBezTo>
                  <a:cubicBezTo>
                    <a:pt x="3155" y="489"/>
                    <a:pt x="3155" y="495"/>
                    <a:pt x="3166" y="495"/>
                  </a:cubicBezTo>
                  <a:cubicBezTo>
                    <a:pt x="3184" y="495"/>
                    <a:pt x="3195" y="483"/>
                    <a:pt x="3207" y="478"/>
                  </a:cubicBezTo>
                  <a:cubicBezTo>
                    <a:pt x="3201" y="472"/>
                    <a:pt x="3195" y="472"/>
                    <a:pt x="3184" y="466"/>
                  </a:cubicBezTo>
                  <a:cubicBezTo>
                    <a:pt x="3230" y="449"/>
                    <a:pt x="3254" y="443"/>
                    <a:pt x="3295" y="425"/>
                  </a:cubicBezTo>
                  <a:cubicBezTo>
                    <a:pt x="3300" y="425"/>
                    <a:pt x="3300" y="425"/>
                    <a:pt x="3300" y="425"/>
                  </a:cubicBezTo>
                  <a:cubicBezTo>
                    <a:pt x="3283" y="472"/>
                    <a:pt x="3283" y="507"/>
                    <a:pt x="3242" y="536"/>
                  </a:cubicBezTo>
                  <a:cubicBezTo>
                    <a:pt x="3230" y="548"/>
                    <a:pt x="3225" y="553"/>
                    <a:pt x="3225" y="571"/>
                  </a:cubicBezTo>
                  <a:cubicBezTo>
                    <a:pt x="3225" y="594"/>
                    <a:pt x="3225" y="594"/>
                    <a:pt x="3225" y="594"/>
                  </a:cubicBezTo>
                  <a:cubicBezTo>
                    <a:pt x="3230" y="594"/>
                    <a:pt x="3236" y="594"/>
                    <a:pt x="3242" y="594"/>
                  </a:cubicBezTo>
                  <a:cubicBezTo>
                    <a:pt x="3271" y="594"/>
                    <a:pt x="3277" y="553"/>
                    <a:pt x="3306" y="553"/>
                  </a:cubicBezTo>
                  <a:cubicBezTo>
                    <a:pt x="3318" y="553"/>
                    <a:pt x="3312" y="571"/>
                    <a:pt x="3324" y="571"/>
                  </a:cubicBezTo>
                  <a:cubicBezTo>
                    <a:pt x="3347" y="583"/>
                    <a:pt x="3382" y="583"/>
                    <a:pt x="3382" y="612"/>
                  </a:cubicBezTo>
                  <a:cubicBezTo>
                    <a:pt x="3382" y="635"/>
                    <a:pt x="3358" y="641"/>
                    <a:pt x="3358" y="670"/>
                  </a:cubicBezTo>
                  <a:cubicBezTo>
                    <a:pt x="3358" y="676"/>
                    <a:pt x="3358" y="681"/>
                    <a:pt x="3358" y="693"/>
                  </a:cubicBezTo>
                  <a:cubicBezTo>
                    <a:pt x="3446" y="693"/>
                    <a:pt x="3446" y="693"/>
                    <a:pt x="3446" y="693"/>
                  </a:cubicBezTo>
                  <a:cubicBezTo>
                    <a:pt x="3452" y="693"/>
                    <a:pt x="3458" y="699"/>
                    <a:pt x="3463" y="699"/>
                  </a:cubicBezTo>
                  <a:cubicBezTo>
                    <a:pt x="3498" y="699"/>
                    <a:pt x="3510" y="664"/>
                    <a:pt x="3527" y="629"/>
                  </a:cubicBezTo>
                  <a:cubicBezTo>
                    <a:pt x="3533" y="612"/>
                    <a:pt x="3556" y="600"/>
                    <a:pt x="3556" y="577"/>
                  </a:cubicBezTo>
                  <a:cubicBezTo>
                    <a:pt x="3556" y="542"/>
                    <a:pt x="3504" y="553"/>
                    <a:pt x="3469" y="542"/>
                  </a:cubicBezTo>
                  <a:cubicBezTo>
                    <a:pt x="3481" y="513"/>
                    <a:pt x="3504" y="501"/>
                    <a:pt x="3533" y="495"/>
                  </a:cubicBezTo>
                  <a:cubicBezTo>
                    <a:pt x="3568" y="483"/>
                    <a:pt x="3580" y="460"/>
                    <a:pt x="3609" y="449"/>
                  </a:cubicBezTo>
                  <a:cubicBezTo>
                    <a:pt x="3615" y="507"/>
                    <a:pt x="3638" y="542"/>
                    <a:pt x="3679" y="571"/>
                  </a:cubicBezTo>
                  <a:cubicBezTo>
                    <a:pt x="3702" y="583"/>
                    <a:pt x="3702" y="606"/>
                    <a:pt x="3725" y="606"/>
                  </a:cubicBezTo>
                  <a:cubicBezTo>
                    <a:pt x="3737" y="606"/>
                    <a:pt x="3737" y="594"/>
                    <a:pt x="3737" y="583"/>
                  </a:cubicBezTo>
                  <a:cubicBezTo>
                    <a:pt x="3737" y="571"/>
                    <a:pt x="3731" y="559"/>
                    <a:pt x="3731" y="548"/>
                  </a:cubicBezTo>
                  <a:cubicBezTo>
                    <a:pt x="3737" y="548"/>
                    <a:pt x="3737" y="542"/>
                    <a:pt x="3743" y="542"/>
                  </a:cubicBezTo>
                  <a:cubicBezTo>
                    <a:pt x="3778" y="542"/>
                    <a:pt x="3801" y="571"/>
                    <a:pt x="3801" y="606"/>
                  </a:cubicBezTo>
                  <a:cubicBezTo>
                    <a:pt x="3801" y="641"/>
                    <a:pt x="3801" y="693"/>
                    <a:pt x="3766" y="693"/>
                  </a:cubicBezTo>
                  <a:cubicBezTo>
                    <a:pt x="3754" y="693"/>
                    <a:pt x="3749" y="681"/>
                    <a:pt x="3743" y="681"/>
                  </a:cubicBezTo>
                  <a:cubicBezTo>
                    <a:pt x="3720" y="681"/>
                    <a:pt x="3720" y="681"/>
                    <a:pt x="3720" y="681"/>
                  </a:cubicBezTo>
                  <a:cubicBezTo>
                    <a:pt x="3714" y="746"/>
                    <a:pt x="3702" y="786"/>
                    <a:pt x="3661" y="833"/>
                  </a:cubicBezTo>
                  <a:cubicBezTo>
                    <a:pt x="3638" y="827"/>
                    <a:pt x="3638" y="827"/>
                    <a:pt x="3638" y="827"/>
                  </a:cubicBezTo>
                  <a:cubicBezTo>
                    <a:pt x="3626" y="839"/>
                    <a:pt x="3615" y="844"/>
                    <a:pt x="3597" y="850"/>
                  </a:cubicBezTo>
                  <a:cubicBezTo>
                    <a:pt x="3615" y="885"/>
                    <a:pt x="3638" y="897"/>
                    <a:pt x="3650" y="932"/>
                  </a:cubicBezTo>
                  <a:cubicBezTo>
                    <a:pt x="3620" y="938"/>
                    <a:pt x="3603" y="938"/>
                    <a:pt x="3586" y="949"/>
                  </a:cubicBezTo>
                  <a:cubicBezTo>
                    <a:pt x="3603" y="967"/>
                    <a:pt x="3615" y="978"/>
                    <a:pt x="3626" y="996"/>
                  </a:cubicBezTo>
                  <a:cubicBezTo>
                    <a:pt x="3597" y="1013"/>
                    <a:pt x="3597" y="1037"/>
                    <a:pt x="3574" y="1060"/>
                  </a:cubicBezTo>
                  <a:cubicBezTo>
                    <a:pt x="3556" y="1037"/>
                    <a:pt x="3562" y="1013"/>
                    <a:pt x="3551" y="978"/>
                  </a:cubicBezTo>
                  <a:cubicBezTo>
                    <a:pt x="3539" y="978"/>
                    <a:pt x="3539" y="978"/>
                    <a:pt x="3539" y="978"/>
                  </a:cubicBezTo>
                  <a:cubicBezTo>
                    <a:pt x="3533" y="1002"/>
                    <a:pt x="3516" y="1019"/>
                    <a:pt x="3492" y="1019"/>
                  </a:cubicBezTo>
                  <a:cubicBezTo>
                    <a:pt x="3492" y="1025"/>
                    <a:pt x="3492" y="1025"/>
                    <a:pt x="3492" y="1025"/>
                  </a:cubicBezTo>
                  <a:cubicBezTo>
                    <a:pt x="3492" y="1031"/>
                    <a:pt x="3498" y="1037"/>
                    <a:pt x="3498" y="1037"/>
                  </a:cubicBezTo>
                  <a:cubicBezTo>
                    <a:pt x="3498" y="1060"/>
                    <a:pt x="3469" y="1060"/>
                    <a:pt x="3446" y="1077"/>
                  </a:cubicBezTo>
                  <a:cubicBezTo>
                    <a:pt x="3440" y="1048"/>
                    <a:pt x="3452" y="1031"/>
                    <a:pt x="3428" y="1007"/>
                  </a:cubicBezTo>
                  <a:cubicBezTo>
                    <a:pt x="3417" y="1037"/>
                    <a:pt x="3417" y="1054"/>
                    <a:pt x="3393" y="1066"/>
                  </a:cubicBezTo>
                  <a:cubicBezTo>
                    <a:pt x="3388" y="1066"/>
                    <a:pt x="3388" y="1054"/>
                    <a:pt x="3382" y="1054"/>
                  </a:cubicBezTo>
                  <a:cubicBezTo>
                    <a:pt x="3347" y="1054"/>
                    <a:pt x="3312" y="1083"/>
                    <a:pt x="3312" y="1118"/>
                  </a:cubicBezTo>
                  <a:cubicBezTo>
                    <a:pt x="3312" y="1141"/>
                    <a:pt x="3329" y="1147"/>
                    <a:pt x="3341" y="1165"/>
                  </a:cubicBezTo>
                  <a:cubicBezTo>
                    <a:pt x="3329" y="1165"/>
                    <a:pt x="3329" y="1165"/>
                    <a:pt x="3329" y="1165"/>
                  </a:cubicBezTo>
                  <a:cubicBezTo>
                    <a:pt x="3312" y="1159"/>
                    <a:pt x="3312" y="1159"/>
                    <a:pt x="3312" y="1159"/>
                  </a:cubicBezTo>
                  <a:cubicBezTo>
                    <a:pt x="3306" y="1188"/>
                    <a:pt x="3300" y="1211"/>
                    <a:pt x="3300" y="1240"/>
                  </a:cubicBezTo>
                  <a:cubicBezTo>
                    <a:pt x="3300" y="1281"/>
                    <a:pt x="3318" y="1322"/>
                    <a:pt x="3358" y="1322"/>
                  </a:cubicBezTo>
                  <a:cubicBezTo>
                    <a:pt x="3411" y="1322"/>
                    <a:pt x="3364" y="1438"/>
                    <a:pt x="3329" y="1508"/>
                  </a:cubicBezTo>
                  <a:cubicBezTo>
                    <a:pt x="3306" y="1555"/>
                    <a:pt x="3254" y="1555"/>
                    <a:pt x="3230" y="1601"/>
                  </a:cubicBezTo>
                  <a:cubicBezTo>
                    <a:pt x="3195" y="1671"/>
                    <a:pt x="3184" y="1712"/>
                    <a:pt x="3137" y="1770"/>
                  </a:cubicBezTo>
                  <a:cubicBezTo>
                    <a:pt x="3120" y="1793"/>
                    <a:pt x="3097" y="1799"/>
                    <a:pt x="3085" y="1828"/>
                  </a:cubicBezTo>
                  <a:cubicBezTo>
                    <a:pt x="3085" y="1892"/>
                    <a:pt x="3085" y="1892"/>
                    <a:pt x="3085" y="1892"/>
                  </a:cubicBezTo>
                  <a:cubicBezTo>
                    <a:pt x="3085" y="1916"/>
                    <a:pt x="3108" y="1910"/>
                    <a:pt x="3126" y="1927"/>
                  </a:cubicBezTo>
                  <a:cubicBezTo>
                    <a:pt x="3230" y="1991"/>
                    <a:pt x="3166" y="2015"/>
                    <a:pt x="3242" y="2015"/>
                  </a:cubicBezTo>
                  <a:cubicBezTo>
                    <a:pt x="3277" y="2015"/>
                    <a:pt x="3283" y="2050"/>
                    <a:pt x="3312" y="2067"/>
                  </a:cubicBezTo>
                  <a:cubicBezTo>
                    <a:pt x="3382" y="2102"/>
                    <a:pt x="3434" y="2108"/>
                    <a:pt x="3492" y="2166"/>
                  </a:cubicBezTo>
                  <a:cubicBezTo>
                    <a:pt x="3510" y="2189"/>
                    <a:pt x="3504" y="2213"/>
                    <a:pt x="3527" y="2242"/>
                  </a:cubicBezTo>
                  <a:cubicBezTo>
                    <a:pt x="3603" y="2329"/>
                    <a:pt x="3720" y="2271"/>
                    <a:pt x="3679" y="2358"/>
                  </a:cubicBezTo>
                  <a:cubicBezTo>
                    <a:pt x="3702" y="2364"/>
                    <a:pt x="3708" y="2387"/>
                    <a:pt x="3725" y="2410"/>
                  </a:cubicBezTo>
                  <a:cubicBezTo>
                    <a:pt x="3737" y="2405"/>
                    <a:pt x="3743" y="2399"/>
                    <a:pt x="3754" y="2399"/>
                  </a:cubicBezTo>
                  <a:cubicBezTo>
                    <a:pt x="3772" y="2399"/>
                    <a:pt x="3784" y="2410"/>
                    <a:pt x="3801" y="2410"/>
                  </a:cubicBezTo>
                  <a:cubicBezTo>
                    <a:pt x="3813" y="2410"/>
                    <a:pt x="3818" y="2405"/>
                    <a:pt x="3824" y="2399"/>
                  </a:cubicBezTo>
                  <a:cubicBezTo>
                    <a:pt x="3836" y="2399"/>
                    <a:pt x="3842" y="2399"/>
                    <a:pt x="3853" y="2399"/>
                  </a:cubicBezTo>
                  <a:cubicBezTo>
                    <a:pt x="3906" y="2399"/>
                    <a:pt x="3935" y="2428"/>
                    <a:pt x="3964" y="2474"/>
                  </a:cubicBezTo>
                  <a:cubicBezTo>
                    <a:pt x="3981" y="2504"/>
                    <a:pt x="4016" y="2492"/>
                    <a:pt x="4046" y="2515"/>
                  </a:cubicBezTo>
                  <a:cubicBezTo>
                    <a:pt x="4104" y="2556"/>
                    <a:pt x="4139" y="2591"/>
                    <a:pt x="4209" y="2591"/>
                  </a:cubicBezTo>
                  <a:cubicBezTo>
                    <a:pt x="4209" y="2591"/>
                    <a:pt x="4209" y="2597"/>
                    <a:pt x="4209" y="2602"/>
                  </a:cubicBezTo>
                  <a:cubicBezTo>
                    <a:pt x="4209" y="2608"/>
                    <a:pt x="4203" y="2608"/>
                    <a:pt x="4203" y="2614"/>
                  </a:cubicBezTo>
                  <a:cubicBezTo>
                    <a:pt x="4203" y="2620"/>
                    <a:pt x="4220" y="2620"/>
                    <a:pt x="4226" y="2626"/>
                  </a:cubicBezTo>
                  <a:cubicBezTo>
                    <a:pt x="4249" y="2643"/>
                    <a:pt x="4261" y="2649"/>
                    <a:pt x="4278" y="2672"/>
                  </a:cubicBezTo>
                  <a:cubicBezTo>
                    <a:pt x="4302" y="2702"/>
                    <a:pt x="4325" y="2725"/>
                    <a:pt x="4348" y="2742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" name="Freeform 9"/>
            <p:cNvSpPr>
              <a:spLocks noChangeArrowheads="1"/>
            </p:cNvSpPr>
            <p:nvPr/>
          </p:nvSpPr>
          <p:spPr bwMode="auto">
            <a:xfrm>
              <a:off x="18205094" y="3276918"/>
              <a:ext cx="3300132" cy="4305392"/>
            </a:xfrm>
            <a:custGeom>
              <a:avLst/>
              <a:gdLst>
                <a:gd name="T0" fmla="*/ 740 w 7500"/>
                <a:gd name="T1" fmla="*/ 3126 h 9786"/>
                <a:gd name="T2" fmla="*/ 716 w 7500"/>
                <a:gd name="T3" fmla="*/ 3394 h 9786"/>
                <a:gd name="T4" fmla="*/ 2009 w 7500"/>
                <a:gd name="T5" fmla="*/ 279 h 9786"/>
                <a:gd name="T6" fmla="*/ 2049 w 7500"/>
                <a:gd name="T7" fmla="*/ 17 h 9786"/>
                <a:gd name="T8" fmla="*/ 6427 w 7500"/>
                <a:gd name="T9" fmla="*/ 6898 h 9786"/>
                <a:gd name="T10" fmla="*/ 7353 w 7500"/>
                <a:gd name="T11" fmla="*/ 7428 h 9786"/>
                <a:gd name="T12" fmla="*/ 7213 w 7500"/>
                <a:gd name="T13" fmla="*/ 7824 h 9786"/>
                <a:gd name="T14" fmla="*/ 7359 w 7500"/>
                <a:gd name="T15" fmla="*/ 7434 h 9786"/>
                <a:gd name="T16" fmla="*/ 7289 w 7500"/>
                <a:gd name="T17" fmla="*/ 9331 h 9786"/>
                <a:gd name="T18" fmla="*/ 6742 w 7500"/>
                <a:gd name="T19" fmla="*/ 9435 h 9786"/>
                <a:gd name="T20" fmla="*/ 6497 w 7500"/>
                <a:gd name="T21" fmla="*/ 9744 h 9786"/>
                <a:gd name="T22" fmla="*/ 6066 w 7500"/>
                <a:gd name="T23" fmla="*/ 9494 h 9786"/>
                <a:gd name="T24" fmla="*/ 5577 w 7500"/>
                <a:gd name="T25" fmla="*/ 9453 h 9786"/>
                <a:gd name="T26" fmla="*/ 1467 w 7500"/>
                <a:gd name="T27" fmla="*/ 8051 h 9786"/>
                <a:gd name="T28" fmla="*/ 402 w 7500"/>
                <a:gd name="T29" fmla="*/ 3341 h 9786"/>
                <a:gd name="T30" fmla="*/ 1002 w 7500"/>
                <a:gd name="T31" fmla="*/ 3761 h 9786"/>
                <a:gd name="T32" fmla="*/ 1345 w 7500"/>
                <a:gd name="T33" fmla="*/ 3656 h 9786"/>
                <a:gd name="T34" fmla="*/ 1531 w 7500"/>
                <a:gd name="T35" fmla="*/ 3307 h 9786"/>
                <a:gd name="T36" fmla="*/ 1595 w 7500"/>
                <a:gd name="T37" fmla="*/ 3184 h 9786"/>
                <a:gd name="T38" fmla="*/ 1753 w 7500"/>
                <a:gd name="T39" fmla="*/ 2497 h 9786"/>
                <a:gd name="T40" fmla="*/ 1683 w 7500"/>
                <a:gd name="T41" fmla="*/ 1863 h 9786"/>
                <a:gd name="T42" fmla="*/ 1828 w 7500"/>
                <a:gd name="T43" fmla="*/ 1577 h 9786"/>
                <a:gd name="T44" fmla="*/ 1875 w 7500"/>
                <a:gd name="T45" fmla="*/ 1240 h 9786"/>
                <a:gd name="T46" fmla="*/ 1910 w 7500"/>
                <a:gd name="T47" fmla="*/ 1007 h 9786"/>
                <a:gd name="T48" fmla="*/ 1910 w 7500"/>
                <a:gd name="T49" fmla="*/ 879 h 9786"/>
                <a:gd name="T50" fmla="*/ 2009 w 7500"/>
                <a:gd name="T51" fmla="*/ 402 h 9786"/>
                <a:gd name="T52" fmla="*/ 2172 w 7500"/>
                <a:gd name="T53" fmla="*/ 396 h 9786"/>
                <a:gd name="T54" fmla="*/ 2335 w 7500"/>
                <a:gd name="T55" fmla="*/ 576 h 9786"/>
                <a:gd name="T56" fmla="*/ 2451 w 7500"/>
                <a:gd name="T57" fmla="*/ 1013 h 9786"/>
                <a:gd name="T58" fmla="*/ 2591 w 7500"/>
                <a:gd name="T59" fmla="*/ 1356 h 9786"/>
                <a:gd name="T60" fmla="*/ 2713 w 7500"/>
                <a:gd name="T61" fmla="*/ 1857 h 9786"/>
                <a:gd name="T62" fmla="*/ 3173 w 7500"/>
                <a:gd name="T63" fmla="*/ 2043 h 9786"/>
                <a:gd name="T64" fmla="*/ 3476 w 7500"/>
                <a:gd name="T65" fmla="*/ 2340 h 9786"/>
                <a:gd name="T66" fmla="*/ 3557 w 7500"/>
                <a:gd name="T67" fmla="*/ 2835 h 9786"/>
                <a:gd name="T68" fmla="*/ 3802 w 7500"/>
                <a:gd name="T69" fmla="*/ 3376 h 9786"/>
                <a:gd name="T70" fmla="*/ 3907 w 7500"/>
                <a:gd name="T71" fmla="*/ 3871 h 9786"/>
                <a:gd name="T72" fmla="*/ 4035 w 7500"/>
                <a:gd name="T73" fmla="*/ 4407 h 9786"/>
                <a:gd name="T74" fmla="*/ 4489 w 7500"/>
                <a:gd name="T75" fmla="*/ 4634 h 9786"/>
                <a:gd name="T76" fmla="*/ 4751 w 7500"/>
                <a:gd name="T77" fmla="*/ 4785 h 9786"/>
                <a:gd name="T78" fmla="*/ 5100 w 7500"/>
                <a:gd name="T79" fmla="*/ 5030 h 9786"/>
                <a:gd name="T80" fmla="*/ 5147 w 7500"/>
                <a:gd name="T81" fmla="*/ 5158 h 9786"/>
                <a:gd name="T82" fmla="*/ 5321 w 7500"/>
                <a:gd name="T83" fmla="*/ 5437 h 9786"/>
                <a:gd name="T84" fmla="*/ 5414 w 7500"/>
                <a:gd name="T85" fmla="*/ 5565 h 9786"/>
                <a:gd name="T86" fmla="*/ 5595 w 7500"/>
                <a:gd name="T87" fmla="*/ 6089 h 9786"/>
                <a:gd name="T88" fmla="*/ 5775 w 7500"/>
                <a:gd name="T89" fmla="*/ 6124 h 9786"/>
                <a:gd name="T90" fmla="*/ 6072 w 7500"/>
                <a:gd name="T91" fmla="*/ 6223 h 9786"/>
                <a:gd name="T92" fmla="*/ 6177 w 7500"/>
                <a:gd name="T93" fmla="*/ 6357 h 9786"/>
                <a:gd name="T94" fmla="*/ 6165 w 7500"/>
                <a:gd name="T95" fmla="*/ 6700 h 9786"/>
                <a:gd name="T96" fmla="*/ 6439 w 7500"/>
                <a:gd name="T97" fmla="*/ 6962 h 9786"/>
                <a:gd name="T98" fmla="*/ 6759 w 7500"/>
                <a:gd name="T99" fmla="*/ 7259 h 9786"/>
                <a:gd name="T100" fmla="*/ 7056 w 7500"/>
                <a:gd name="T101" fmla="*/ 7638 h 9786"/>
                <a:gd name="T102" fmla="*/ 7260 w 7500"/>
                <a:gd name="T103" fmla="*/ 8226 h 9786"/>
                <a:gd name="T104" fmla="*/ 7336 w 7500"/>
                <a:gd name="T105" fmla="*/ 8447 h 9786"/>
                <a:gd name="T106" fmla="*/ 7399 w 7500"/>
                <a:gd name="T107" fmla="*/ 8901 h 9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500" h="9786">
                  <a:moveTo>
                    <a:pt x="559" y="3219"/>
                  </a:moveTo>
                  <a:lnTo>
                    <a:pt x="559" y="3219"/>
                  </a:lnTo>
                  <a:cubicBezTo>
                    <a:pt x="559" y="3242"/>
                    <a:pt x="588" y="3248"/>
                    <a:pt x="611" y="3248"/>
                  </a:cubicBezTo>
                  <a:cubicBezTo>
                    <a:pt x="629" y="3248"/>
                    <a:pt x="629" y="3225"/>
                    <a:pt x="641" y="3213"/>
                  </a:cubicBezTo>
                  <a:cubicBezTo>
                    <a:pt x="658" y="3202"/>
                    <a:pt x="670" y="3207"/>
                    <a:pt x="687" y="3207"/>
                  </a:cubicBezTo>
                  <a:cubicBezTo>
                    <a:pt x="687" y="3173"/>
                    <a:pt x="705" y="3126"/>
                    <a:pt x="740" y="3126"/>
                  </a:cubicBezTo>
                  <a:cubicBezTo>
                    <a:pt x="757" y="3126"/>
                    <a:pt x="763" y="3149"/>
                    <a:pt x="780" y="3149"/>
                  </a:cubicBezTo>
                  <a:cubicBezTo>
                    <a:pt x="786" y="3149"/>
                    <a:pt x="798" y="3138"/>
                    <a:pt x="798" y="3126"/>
                  </a:cubicBezTo>
                  <a:cubicBezTo>
                    <a:pt x="798" y="3091"/>
                    <a:pt x="740" y="3097"/>
                    <a:pt x="705" y="3109"/>
                  </a:cubicBezTo>
                  <a:cubicBezTo>
                    <a:pt x="641" y="3138"/>
                    <a:pt x="559" y="3149"/>
                    <a:pt x="559" y="3219"/>
                  </a:cubicBezTo>
                  <a:close/>
                  <a:moveTo>
                    <a:pt x="716" y="3394"/>
                  </a:moveTo>
                  <a:lnTo>
                    <a:pt x="716" y="3394"/>
                  </a:lnTo>
                  <a:cubicBezTo>
                    <a:pt x="705" y="3411"/>
                    <a:pt x="693" y="3417"/>
                    <a:pt x="681" y="3435"/>
                  </a:cubicBezTo>
                  <a:cubicBezTo>
                    <a:pt x="699" y="3440"/>
                    <a:pt x="710" y="3440"/>
                    <a:pt x="734" y="3440"/>
                  </a:cubicBezTo>
                  <a:cubicBezTo>
                    <a:pt x="734" y="3423"/>
                    <a:pt x="728" y="3405"/>
                    <a:pt x="716" y="3394"/>
                  </a:cubicBezTo>
                  <a:close/>
                  <a:moveTo>
                    <a:pt x="2038" y="233"/>
                  </a:moveTo>
                  <a:lnTo>
                    <a:pt x="2038" y="233"/>
                  </a:lnTo>
                  <a:cubicBezTo>
                    <a:pt x="2020" y="244"/>
                    <a:pt x="2009" y="256"/>
                    <a:pt x="2009" y="279"/>
                  </a:cubicBezTo>
                  <a:cubicBezTo>
                    <a:pt x="2009" y="291"/>
                    <a:pt x="2014" y="291"/>
                    <a:pt x="2014" y="303"/>
                  </a:cubicBezTo>
                  <a:cubicBezTo>
                    <a:pt x="2020" y="285"/>
                    <a:pt x="2038" y="279"/>
                    <a:pt x="2055" y="279"/>
                  </a:cubicBezTo>
                  <a:cubicBezTo>
                    <a:pt x="2055" y="273"/>
                    <a:pt x="2055" y="273"/>
                    <a:pt x="2055" y="268"/>
                  </a:cubicBezTo>
                  <a:cubicBezTo>
                    <a:pt x="2055" y="250"/>
                    <a:pt x="2049" y="244"/>
                    <a:pt x="2038" y="233"/>
                  </a:cubicBezTo>
                  <a:close/>
                  <a:moveTo>
                    <a:pt x="2049" y="17"/>
                  </a:moveTo>
                  <a:lnTo>
                    <a:pt x="2049" y="17"/>
                  </a:lnTo>
                  <a:cubicBezTo>
                    <a:pt x="2049" y="35"/>
                    <a:pt x="2067" y="41"/>
                    <a:pt x="2073" y="52"/>
                  </a:cubicBezTo>
                  <a:cubicBezTo>
                    <a:pt x="2090" y="41"/>
                    <a:pt x="2096" y="29"/>
                    <a:pt x="2102" y="12"/>
                  </a:cubicBezTo>
                  <a:cubicBezTo>
                    <a:pt x="2084" y="0"/>
                    <a:pt x="2049" y="0"/>
                    <a:pt x="2049" y="17"/>
                  </a:cubicBezTo>
                  <a:close/>
                  <a:moveTo>
                    <a:pt x="6293" y="6718"/>
                  </a:moveTo>
                  <a:lnTo>
                    <a:pt x="6293" y="6718"/>
                  </a:lnTo>
                  <a:cubicBezTo>
                    <a:pt x="6305" y="6805"/>
                    <a:pt x="6363" y="6840"/>
                    <a:pt x="6427" y="6898"/>
                  </a:cubicBezTo>
                  <a:cubicBezTo>
                    <a:pt x="6427" y="6893"/>
                    <a:pt x="6433" y="6893"/>
                    <a:pt x="6433" y="6887"/>
                  </a:cubicBezTo>
                  <a:cubicBezTo>
                    <a:pt x="6433" y="6852"/>
                    <a:pt x="6404" y="6840"/>
                    <a:pt x="6381" y="6811"/>
                  </a:cubicBezTo>
                  <a:cubicBezTo>
                    <a:pt x="6352" y="6770"/>
                    <a:pt x="6340" y="6724"/>
                    <a:pt x="6293" y="6718"/>
                  </a:cubicBezTo>
                  <a:close/>
                  <a:moveTo>
                    <a:pt x="7359" y="7434"/>
                  </a:moveTo>
                  <a:lnTo>
                    <a:pt x="7359" y="7434"/>
                  </a:lnTo>
                  <a:cubicBezTo>
                    <a:pt x="7353" y="7428"/>
                    <a:pt x="7353" y="7428"/>
                    <a:pt x="7353" y="7428"/>
                  </a:cubicBezTo>
                  <a:cubicBezTo>
                    <a:pt x="7353" y="7451"/>
                    <a:pt x="7359" y="7463"/>
                    <a:pt x="7359" y="7486"/>
                  </a:cubicBezTo>
                  <a:cubicBezTo>
                    <a:pt x="7359" y="7533"/>
                    <a:pt x="7336" y="7562"/>
                    <a:pt x="7300" y="7591"/>
                  </a:cubicBezTo>
                  <a:cubicBezTo>
                    <a:pt x="7283" y="7597"/>
                    <a:pt x="7266" y="7603"/>
                    <a:pt x="7266" y="7614"/>
                  </a:cubicBezTo>
                  <a:cubicBezTo>
                    <a:pt x="7266" y="7632"/>
                    <a:pt x="7271" y="7643"/>
                    <a:pt x="7271" y="7661"/>
                  </a:cubicBezTo>
                  <a:cubicBezTo>
                    <a:pt x="7271" y="7731"/>
                    <a:pt x="7271" y="7731"/>
                    <a:pt x="7271" y="7731"/>
                  </a:cubicBezTo>
                  <a:cubicBezTo>
                    <a:pt x="7271" y="7771"/>
                    <a:pt x="7242" y="7789"/>
                    <a:pt x="7213" y="7824"/>
                  </a:cubicBezTo>
                  <a:cubicBezTo>
                    <a:pt x="7248" y="7836"/>
                    <a:pt x="7237" y="7871"/>
                    <a:pt x="7248" y="7900"/>
                  </a:cubicBezTo>
                  <a:cubicBezTo>
                    <a:pt x="7254" y="7917"/>
                    <a:pt x="7271" y="7923"/>
                    <a:pt x="7283" y="7934"/>
                  </a:cubicBezTo>
                  <a:cubicBezTo>
                    <a:pt x="7318" y="7894"/>
                    <a:pt x="7283" y="7847"/>
                    <a:pt x="7312" y="7795"/>
                  </a:cubicBezTo>
                  <a:cubicBezTo>
                    <a:pt x="7336" y="7742"/>
                    <a:pt x="7341" y="7708"/>
                    <a:pt x="7359" y="7655"/>
                  </a:cubicBezTo>
                  <a:cubicBezTo>
                    <a:pt x="7382" y="7603"/>
                    <a:pt x="7411" y="7579"/>
                    <a:pt x="7411" y="7527"/>
                  </a:cubicBezTo>
                  <a:cubicBezTo>
                    <a:pt x="7411" y="7486"/>
                    <a:pt x="7376" y="7469"/>
                    <a:pt x="7359" y="7434"/>
                  </a:cubicBezTo>
                  <a:close/>
                  <a:moveTo>
                    <a:pt x="7499" y="9221"/>
                  </a:moveTo>
                  <a:lnTo>
                    <a:pt x="7499" y="9221"/>
                  </a:lnTo>
                  <a:lnTo>
                    <a:pt x="7499" y="9221"/>
                  </a:lnTo>
                  <a:cubicBezTo>
                    <a:pt x="7464" y="9243"/>
                    <a:pt x="7446" y="9255"/>
                    <a:pt x="7411" y="9267"/>
                  </a:cubicBezTo>
                  <a:cubicBezTo>
                    <a:pt x="7388" y="9272"/>
                    <a:pt x="7365" y="9261"/>
                    <a:pt x="7347" y="9272"/>
                  </a:cubicBezTo>
                  <a:cubicBezTo>
                    <a:pt x="7318" y="9284"/>
                    <a:pt x="7318" y="9331"/>
                    <a:pt x="7289" y="9331"/>
                  </a:cubicBezTo>
                  <a:cubicBezTo>
                    <a:pt x="7271" y="9331"/>
                    <a:pt x="7266" y="9319"/>
                    <a:pt x="7248" y="9319"/>
                  </a:cubicBezTo>
                  <a:cubicBezTo>
                    <a:pt x="7213" y="9313"/>
                    <a:pt x="7184" y="9325"/>
                    <a:pt x="7149" y="9325"/>
                  </a:cubicBezTo>
                  <a:cubicBezTo>
                    <a:pt x="7091" y="9325"/>
                    <a:pt x="7068" y="9278"/>
                    <a:pt x="7010" y="9278"/>
                  </a:cubicBezTo>
                  <a:cubicBezTo>
                    <a:pt x="6963" y="9278"/>
                    <a:pt x="6957" y="9325"/>
                    <a:pt x="6922" y="9354"/>
                  </a:cubicBezTo>
                  <a:cubicBezTo>
                    <a:pt x="6905" y="9366"/>
                    <a:pt x="6887" y="9354"/>
                    <a:pt x="6864" y="9366"/>
                  </a:cubicBezTo>
                  <a:cubicBezTo>
                    <a:pt x="6811" y="9383"/>
                    <a:pt x="6794" y="9418"/>
                    <a:pt x="6742" y="9435"/>
                  </a:cubicBezTo>
                  <a:cubicBezTo>
                    <a:pt x="6753" y="9465"/>
                    <a:pt x="6759" y="9482"/>
                    <a:pt x="6777" y="9500"/>
                  </a:cubicBezTo>
                  <a:cubicBezTo>
                    <a:pt x="6782" y="9505"/>
                    <a:pt x="6800" y="9505"/>
                    <a:pt x="6800" y="9517"/>
                  </a:cubicBezTo>
                  <a:cubicBezTo>
                    <a:pt x="6800" y="9581"/>
                    <a:pt x="6753" y="9639"/>
                    <a:pt x="6689" y="9639"/>
                  </a:cubicBezTo>
                  <a:cubicBezTo>
                    <a:pt x="6689" y="9651"/>
                    <a:pt x="6689" y="9657"/>
                    <a:pt x="6683" y="9668"/>
                  </a:cubicBezTo>
                  <a:cubicBezTo>
                    <a:pt x="6654" y="9668"/>
                    <a:pt x="6643" y="9628"/>
                    <a:pt x="6614" y="9628"/>
                  </a:cubicBezTo>
                  <a:cubicBezTo>
                    <a:pt x="6550" y="9628"/>
                    <a:pt x="6526" y="9686"/>
                    <a:pt x="6497" y="9744"/>
                  </a:cubicBezTo>
                  <a:cubicBezTo>
                    <a:pt x="6485" y="9761"/>
                    <a:pt x="6491" y="9785"/>
                    <a:pt x="6474" y="9785"/>
                  </a:cubicBezTo>
                  <a:cubicBezTo>
                    <a:pt x="6392" y="9785"/>
                    <a:pt x="6439" y="9645"/>
                    <a:pt x="6369" y="9610"/>
                  </a:cubicBezTo>
                  <a:cubicBezTo>
                    <a:pt x="6305" y="9581"/>
                    <a:pt x="6282" y="9546"/>
                    <a:pt x="6224" y="9511"/>
                  </a:cubicBezTo>
                  <a:cubicBezTo>
                    <a:pt x="6206" y="9500"/>
                    <a:pt x="6206" y="9476"/>
                    <a:pt x="6183" y="9476"/>
                  </a:cubicBezTo>
                  <a:cubicBezTo>
                    <a:pt x="6159" y="9476"/>
                    <a:pt x="6148" y="9494"/>
                    <a:pt x="6119" y="9494"/>
                  </a:cubicBezTo>
                  <a:cubicBezTo>
                    <a:pt x="6066" y="9494"/>
                    <a:pt x="6066" y="9494"/>
                    <a:pt x="6066" y="9494"/>
                  </a:cubicBezTo>
                  <a:cubicBezTo>
                    <a:pt x="6061" y="9494"/>
                    <a:pt x="6055" y="9500"/>
                    <a:pt x="6043" y="9500"/>
                  </a:cubicBezTo>
                  <a:cubicBezTo>
                    <a:pt x="5996" y="9500"/>
                    <a:pt x="5991" y="9435"/>
                    <a:pt x="5944" y="9435"/>
                  </a:cubicBezTo>
                  <a:cubicBezTo>
                    <a:pt x="5868" y="9435"/>
                    <a:pt x="5833" y="9482"/>
                    <a:pt x="5758" y="9482"/>
                  </a:cubicBezTo>
                  <a:cubicBezTo>
                    <a:pt x="5740" y="9482"/>
                    <a:pt x="5735" y="9476"/>
                    <a:pt x="5717" y="9476"/>
                  </a:cubicBezTo>
                  <a:cubicBezTo>
                    <a:pt x="5665" y="9476"/>
                    <a:pt x="5665" y="9476"/>
                    <a:pt x="5665" y="9476"/>
                  </a:cubicBezTo>
                  <a:cubicBezTo>
                    <a:pt x="5630" y="9476"/>
                    <a:pt x="5612" y="9453"/>
                    <a:pt x="5577" y="9453"/>
                  </a:cubicBezTo>
                  <a:cubicBezTo>
                    <a:pt x="5531" y="9453"/>
                    <a:pt x="5513" y="9500"/>
                    <a:pt x="5473" y="9529"/>
                  </a:cubicBezTo>
                  <a:cubicBezTo>
                    <a:pt x="5426" y="9563"/>
                    <a:pt x="5385" y="9563"/>
                    <a:pt x="5350" y="9610"/>
                  </a:cubicBezTo>
                  <a:cubicBezTo>
                    <a:pt x="5333" y="9628"/>
                    <a:pt x="5344" y="9663"/>
                    <a:pt x="5321" y="9668"/>
                  </a:cubicBezTo>
                  <a:cubicBezTo>
                    <a:pt x="1467" y="9680"/>
                    <a:pt x="1467" y="9680"/>
                    <a:pt x="1467" y="9680"/>
                  </a:cubicBezTo>
                  <a:lnTo>
                    <a:pt x="1467" y="9680"/>
                  </a:lnTo>
                  <a:cubicBezTo>
                    <a:pt x="1467" y="8051"/>
                    <a:pt x="1467" y="8051"/>
                    <a:pt x="1467" y="8051"/>
                  </a:cubicBezTo>
                  <a:cubicBezTo>
                    <a:pt x="6" y="8045"/>
                    <a:pt x="6" y="8045"/>
                    <a:pt x="6" y="8045"/>
                  </a:cubicBezTo>
                  <a:lnTo>
                    <a:pt x="6" y="8045"/>
                  </a:lnTo>
                  <a:cubicBezTo>
                    <a:pt x="0" y="3184"/>
                    <a:pt x="0" y="3184"/>
                    <a:pt x="0" y="3184"/>
                  </a:cubicBezTo>
                  <a:lnTo>
                    <a:pt x="0" y="3184"/>
                  </a:lnTo>
                  <a:cubicBezTo>
                    <a:pt x="35" y="3219"/>
                    <a:pt x="70" y="3237"/>
                    <a:pt x="128" y="3254"/>
                  </a:cubicBezTo>
                  <a:cubicBezTo>
                    <a:pt x="233" y="3289"/>
                    <a:pt x="291" y="3307"/>
                    <a:pt x="402" y="3341"/>
                  </a:cubicBezTo>
                  <a:cubicBezTo>
                    <a:pt x="454" y="3353"/>
                    <a:pt x="501" y="3359"/>
                    <a:pt x="530" y="3405"/>
                  </a:cubicBezTo>
                  <a:cubicBezTo>
                    <a:pt x="565" y="3464"/>
                    <a:pt x="536" y="3522"/>
                    <a:pt x="582" y="3568"/>
                  </a:cubicBezTo>
                  <a:cubicBezTo>
                    <a:pt x="617" y="3603"/>
                    <a:pt x="664" y="3580"/>
                    <a:pt x="710" y="3598"/>
                  </a:cubicBezTo>
                  <a:cubicBezTo>
                    <a:pt x="740" y="3603"/>
                    <a:pt x="745" y="3627"/>
                    <a:pt x="769" y="3644"/>
                  </a:cubicBezTo>
                  <a:cubicBezTo>
                    <a:pt x="844" y="3708"/>
                    <a:pt x="792" y="3691"/>
                    <a:pt x="856" y="3691"/>
                  </a:cubicBezTo>
                  <a:cubicBezTo>
                    <a:pt x="920" y="3691"/>
                    <a:pt x="937" y="3761"/>
                    <a:pt x="1002" y="3761"/>
                  </a:cubicBezTo>
                  <a:cubicBezTo>
                    <a:pt x="1054" y="3761"/>
                    <a:pt x="1054" y="3761"/>
                    <a:pt x="1054" y="3761"/>
                  </a:cubicBezTo>
                  <a:cubicBezTo>
                    <a:pt x="1153" y="3761"/>
                    <a:pt x="1194" y="3679"/>
                    <a:pt x="1293" y="3679"/>
                  </a:cubicBezTo>
                  <a:cubicBezTo>
                    <a:pt x="1299" y="3679"/>
                    <a:pt x="1304" y="3691"/>
                    <a:pt x="1310" y="3696"/>
                  </a:cubicBezTo>
                  <a:cubicBezTo>
                    <a:pt x="1310" y="3656"/>
                    <a:pt x="1310" y="3656"/>
                    <a:pt x="1310" y="3656"/>
                  </a:cubicBezTo>
                  <a:cubicBezTo>
                    <a:pt x="1316" y="3656"/>
                    <a:pt x="1316" y="3650"/>
                    <a:pt x="1322" y="3650"/>
                  </a:cubicBezTo>
                  <a:cubicBezTo>
                    <a:pt x="1328" y="3650"/>
                    <a:pt x="1333" y="3656"/>
                    <a:pt x="1345" y="3656"/>
                  </a:cubicBezTo>
                  <a:cubicBezTo>
                    <a:pt x="1345" y="3603"/>
                    <a:pt x="1380" y="3586"/>
                    <a:pt x="1403" y="3539"/>
                  </a:cubicBezTo>
                  <a:cubicBezTo>
                    <a:pt x="1415" y="3551"/>
                    <a:pt x="1415" y="3551"/>
                    <a:pt x="1415" y="3551"/>
                  </a:cubicBezTo>
                  <a:cubicBezTo>
                    <a:pt x="1444" y="3487"/>
                    <a:pt x="1467" y="3446"/>
                    <a:pt x="1456" y="3382"/>
                  </a:cubicBezTo>
                  <a:cubicBezTo>
                    <a:pt x="1479" y="3370"/>
                    <a:pt x="1491" y="3353"/>
                    <a:pt x="1502" y="3330"/>
                  </a:cubicBezTo>
                  <a:cubicBezTo>
                    <a:pt x="1508" y="3318"/>
                    <a:pt x="1508" y="3295"/>
                    <a:pt x="1520" y="3295"/>
                  </a:cubicBezTo>
                  <a:cubicBezTo>
                    <a:pt x="1525" y="3295"/>
                    <a:pt x="1525" y="3307"/>
                    <a:pt x="1531" y="3307"/>
                  </a:cubicBezTo>
                  <a:cubicBezTo>
                    <a:pt x="1531" y="3295"/>
                    <a:pt x="1531" y="3283"/>
                    <a:pt x="1531" y="3266"/>
                  </a:cubicBezTo>
                  <a:cubicBezTo>
                    <a:pt x="1549" y="3266"/>
                    <a:pt x="1560" y="3266"/>
                    <a:pt x="1584" y="3266"/>
                  </a:cubicBezTo>
                  <a:cubicBezTo>
                    <a:pt x="1572" y="3260"/>
                    <a:pt x="1566" y="3254"/>
                    <a:pt x="1566" y="3237"/>
                  </a:cubicBezTo>
                  <a:cubicBezTo>
                    <a:pt x="1566" y="3225"/>
                    <a:pt x="1572" y="3213"/>
                    <a:pt x="1584" y="3213"/>
                  </a:cubicBezTo>
                  <a:cubicBezTo>
                    <a:pt x="1590" y="3213"/>
                    <a:pt x="1590" y="3219"/>
                    <a:pt x="1595" y="3219"/>
                  </a:cubicBezTo>
                  <a:cubicBezTo>
                    <a:pt x="1595" y="3184"/>
                    <a:pt x="1595" y="3184"/>
                    <a:pt x="1595" y="3184"/>
                  </a:cubicBezTo>
                  <a:cubicBezTo>
                    <a:pt x="1595" y="3074"/>
                    <a:pt x="1665" y="3021"/>
                    <a:pt x="1665" y="2916"/>
                  </a:cubicBezTo>
                  <a:cubicBezTo>
                    <a:pt x="1665" y="2899"/>
                    <a:pt x="1654" y="2887"/>
                    <a:pt x="1654" y="2870"/>
                  </a:cubicBezTo>
                  <a:cubicBezTo>
                    <a:pt x="1654" y="2841"/>
                    <a:pt x="1665" y="2829"/>
                    <a:pt x="1665" y="2800"/>
                  </a:cubicBezTo>
                  <a:cubicBezTo>
                    <a:pt x="1665" y="2730"/>
                    <a:pt x="1688" y="2689"/>
                    <a:pt x="1712" y="2620"/>
                  </a:cubicBezTo>
                  <a:cubicBezTo>
                    <a:pt x="1723" y="2585"/>
                    <a:pt x="1718" y="2544"/>
                    <a:pt x="1753" y="2521"/>
                  </a:cubicBezTo>
                  <a:cubicBezTo>
                    <a:pt x="1805" y="2521"/>
                    <a:pt x="1753" y="2526"/>
                    <a:pt x="1753" y="2497"/>
                  </a:cubicBezTo>
                  <a:cubicBezTo>
                    <a:pt x="1753" y="2486"/>
                    <a:pt x="1764" y="2480"/>
                    <a:pt x="1770" y="2474"/>
                  </a:cubicBezTo>
                  <a:cubicBezTo>
                    <a:pt x="1788" y="2451"/>
                    <a:pt x="1782" y="2433"/>
                    <a:pt x="1788" y="2410"/>
                  </a:cubicBezTo>
                  <a:cubicBezTo>
                    <a:pt x="1729" y="2317"/>
                    <a:pt x="1712" y="2253"/>
                    <a:pt x="1712" y="2142"/>
                  </a:cubicBezTo>
                  <a:cubicBezTo>
                    <a:pt x="1712" y="2090"/>
                    <a:pt x="1753" y="2061"/>
                    <a:pt x="1753" y="2008"/>
                  </a:cubicBezTo>
                  <a:cubicBezTo>
                    <a:pt x="1753" y="1956"/>
                    <a:pt x="1753" y="1956"/>
                    <a:pt x="1753" y="1956"/>
                  </a:cubicBezTo>
                  <a:cubicBezTo>
                    <a:pt x="1753" y="1909"/>
                    <a:pt x="1683" y="1909"/>
                    <a:pt x="1683" y="1863"/>
                  </a:cubicBezTo>
                  <a:cubicBezTo>
                    <a:pt x="1683" y="1834"/>
                    <a:pt x="1700" y="1822"/>
                    <a:pt x="1700" y="1793"/>
                  </a:cubicBezTo>
                  <a:cubicBezTo>
                    <a:pt x="1706" y="1752"/>
                    <a:pt x="1706" y="1723"/>
                    <a:pt x="1729" y="1688"/>
                  </a:cubicBezTo>
                  <a:cubicBezTo>
                    <a:pt x="1753" y="1659"/>
                    <a:pt x="1735" y="1624"/>
                    <a:pt x="1758" y="1595"/>
                  </a:cubicBezTo>
                  <a:cubicBezTo>
                    <a:pt x="1776" y="1601"/>
                    <a:pt x="1776" y="1618"/>
                    <a:pt x="1793" y="1636"/>
                  </a:cubicBezTo>
                  <a:cubicBezTo>
                    <a:pt x="1799" y="1642"/>
                    <a:pt x="1799" y="1642"/>
                    <a:pt x="1799" y="1642"/>
                  </a:cubicBezTo>
                  <a:cubicBezTo>
                    <a:pt x="1799" y="1612"/>
                    <a:pt x="1817" y="1601"/>
                    <a:pt x="1828" y="1577"/>
                  </a:cubicBezTo>
                  <a:cubicBezTo>
                    <a:pt x="1793" y="1566"/>
                    <a:pt x="1788" y="1525"/>
                    <a:pt x="1776" y="1496"/>
                  </a:cubicBezTo>
                  <a:cubicBezTo>
                    <a:pt x="1758" y="1455"/>
                    <a:pt x="1747" y="1438"/>
                    <a:pt x="1747" y="1397"/>
                  </a:cubicBezTo>
                  <a:cubicBezTo>
                    <a:pt x="1747" y="1362"/>
                    <a:pt x="1782" y="1362"/>
                    <a:pt x="1811" y="1339"/>
                  </a:cubicBezTo>
                  <a:cubicBezTo>
                    <a:pt x="1834" y="1321"/>
                    <a:pt x="1834" y="1292"/>
                    <a:pt x="1851" y="1263"/>
                  </a:cubicBezTo>
                  <a:cubicBezTo>
                    <a:pt x="1910" y="1310"/>
                    <a:pt x="1933" y="1414"/>
                    <a:pt x="1904" y="1275"/>
                  </a:cubicBezTo>
                  <a:cubicBezTo>
                    <a:pt x="1985" y="1281"/>
                    <a:pt x="1904" y="1257"/>
                    <a:pt x="1875" y="1240"/>
                  </a:cubicBezTo>
                  <a:cubicBezTo>
                    <a:pt x="2020" y="1164"/>
                    <a:pt x="1793" y="1240"/>
                    <a:pt x="1793" y="1094"/>
                  </a:cubicBezTo>
                  <a:cubicBezTo>
                    <a:pt x="1793" y="1065"/>
                    <a:pt x="1793" y="1048"/>
                    <a:pt x="1817" y="1036"/>
                  </a:cubicBezTo>
                  <a:cubicBezTo>
                    <a:pt x="1834" y="1036"/>
                    <a:pt x="1834" y="1036"/>
                    <a:pt x="1834" y="1036"/>
                  </a:cubicBezTo>
                  <a:cubicBezTo>
                    <a:pt x="1828" y="1025"/>
                    <a:pt x="1828" y="1019"/>
                    <a:pt x="1828" y="1007"/>
                  </a:cubicBezTo>
                  <a:cubicBezTo>
                    <a:pt x="1828" y="972"/>
                    <a:pt x="1851" y="960"/>
                    <a:pt x="1881" y="937"/>
                  </a:cubicBezTo>
                  <a:cubicBezTo>
                    <a:pt x="1892" y="960"/>
                    <a:pt x="1904" y="978"/>
                    <a:pt x="1910" y="1007"/>
                  </a:cubicBezTo>
                  <a:cubicBezTo>
                    <a:pt x="1910" y="1013"/>
                    <a:pt x="1916" y="1025"/>
                    <a:pt x="1916" y="1007"/>
                  </a:cubicBezTo>
                  <a:cubicBezTo>
                    <a:pt x="1916" y="990"/>
                    <a:pt x="1910" y="978"/>
                    <a:pt x="1910" y="960"/>
                  </a:cubicBezTo>
                  <a:cubicBezTo>
                    <a:pt x="1910" y="949"/>
                    <a:pt x="1910" y="949"/>
                    <a:pt x="1910" y="949"/>
                  </a:cubicBezTo>
                  <a:cubicBezTo>
                    <a:pt x="1956" y="949"/>
                    <a:pt x="1956" y="949"/>
                    <a:pt x="1956" y="949"/>
                  </a:cubicBezTo>
                  <a:cubicBezTo>
                    <a:pt x="1956" y="937"/>
                    <a:pt x="1956" y="937"/>
                    <a:pt x="1956" y="925"/>
                  </a:cubicBezTo>
                  <a:cubicBezTo>
                    <a:pt x="1956" y="902"/>
                    <a:pt x="1910" y="908"/>
                    <a:pt x="1910" y="879"/>
                  </a:cubicBezTo>
                  <a:cubicBezTo>
                    <a:pt x="1910" y="832"/>
                    <a:pt x="1945" y="815"/>
                    <a:pt x="1974" y="780"/>
                  </a:cubicBezTo>
                  <a:cubicBezTo>
                    <a:pt x="1968" y="774"/>
                    <a:pt x="1962" y="762"/>
                    <a:pt x="1962" y="751"/>
                  </a:cubicBezTo>
                  <a:cubicBezTo>
                    <a:pt x="1962" y="687"/>
                    <a:pt x="2003" y="658"/>
                    <a:pt x="2003" y="594"/>
                  </a:cubicBezTo>
                  <a:cubicBezTo>
                    <a:pt x="2003" y="530"/>
                    <a:pt x="2003" y="530"/>
                    <a:pt x="2003" y="530"/>
                  </a:cubicBezTo>
                  <a:cubicBezTo>
                    <a:pt x="2003" y="501"/>
                    <a:pt x="2009" y="483"/>
                    <a:pt x="2009" y="448"/>
                  </a:cubicBezTo>
                  <a:cubicBezTo>
                    <a:pt x="2009" y="431"/>
                    <a:pt x="2009" y="419"/>
                    <a:pt x="2009" y="402"/>
                  </a:cubicBezTo>
                  <a:cubicBezTo>
                    <a:pt x="2020" y="402"/>
                    <a:pt x="2032" y="402"/>
                    <a:pt x="2044" y="402"/>
                  </a:cubicBezTo>
                  <a:cubicBezTo>
                    <a:pt x="2084" y="402"/>
                    <a:pt x="2114" y="373"/>
                    <a:pt x="2131" y="338"/>
                  </a:cubicBezTo>
                  <a:cubicBezTo>
                    <a:pt x="2137" y="320"/>
                    <a:pt x="2131" y="285"/>
                    <a:pt x="2154" y="285"/>
                  </a:cubicBezTo>
                  <a:cubicBezTo>
                    <a:pt x="2172" y="285"/>
                    <a:pt x="2177" y="291"/>
                    <a:pt x="2195" y="285"/>
                  </a:cubicBezTo>
                  <a:cubicBezTo>
                    <a:pt x="2195" y="291"/>
                    <a:pt x="2201" y="297"/>
                    <a:pt x="2201" y="303"/>
                  </a:cubicBezTo>
                  <a:cubicBezTo>
                    <a:pt x="2201" y="338"/>
                    <a:pt x="2177" y="361"/>
                    <a:pt x="2172" y="396"/>
                  </a:cubicBezTo>
                  <a:cubicBezTo>
                    <a:pt x="2177" y="396"/>
                    <a:pt x="2177" y="396"/>
                    <a:pt x="2183" y="396"/>
                  </a:cubicBezTo>
                  <a:cubicBezTo>
                    <a:pt x="2207" y="396"/>
                    <a:pt x="2218" y="390"/>
                    <a:pt x="2236" y="390"/>
                  </a:cubicBezTo>
                  <a:cubicBezTo>
                    <a:pt x="2247" y="390"/>
                    <a:pt x="2247" y="407"/>
                    <a:pt x="2259" y="413"/>
                  </a:cubicBezTo>
                  <a:cubicBezTo>
                    <a:pt x="2282" y="413"/>
                    <a:pt x="2311" y="413"/>
                    <a:pt x="2311" y="436"/>
                  </a:cubicBezTo>
                  <a:cubicBezTo>
                    <a:pt x="2311" y="460"/>
                    <a:pt x="2300" y="471"/>
                    <a:pt x="2300" y="495"/>
                  </a:cubicBezTo>
                  <a:cubicBezTo>
                    <a:pt x="2300" y="530"/>
                    <a:pt x="2323" y="541"/>
                    <a:pt x="2335" y="576"/>
                  </a:cubicBezTo>
                  <a:cubicBezTo>
                    <a:pt x="2358" y="640"/>
                    <a:pt x="2358" y="687"/>
                    <a:pt x="2358" y="757"/>
                  </a:cubicBezTo>
                  <a:cubicBezTo>
                    <a:pt x="2358" y="780"/>
                    <a:pt x="2346" y="792"/>
                    <a:pt x="2346" y="821"/>
                  </a:cubicBezTo>
                  <a:cubicBezTo>
                    <a:pt x="2346" y="856"/>
                    <a:pt x="2375" y="891"/>
                    <a:pt x="2410" y="891"/>
                  </a:cubicBezTo>
                  <a:cubicBezTo>
                    <a:pt x="2434" y="891"/>
                    <a:pt x="2445" y="873"/>
                    <a:pt x="2469" y="873"/>
                  </a:cubicBezTo>
                  <a:cubicBezTo>
                    <a:pt x="2486" y="873"/>
                    <a:pt x="2492" y="896"/>
                    <a:pt x="2492" y="920"/>
                  </a:cubicBezTo>
                  <a:cubicBezTo>
                    <a:pt x="2492" y="955"/>
                    <a:pt x="2451" y="972"/>
                    <a:pt x="2451" y="1013"/>
                  </a:cubicBezTo>
                  <a:cubicBezTo>
                    <a:pt x="2451" y="1042"/>
                    <a:pt x="2451" y="1071"/>
                    <a:pt x="2474" y="1088"/>
                  </a:cubicBezTo>
                  <a:cubicBezTo>
                    <a:pt x="2498" y="1100"/>
                    <a:pt x="2521" y="1088"/>
                    <a:pt x="2538" y="1112"/>
                  </a:cubicBezTo>
                  <a:cubicBezTo>
                    <a:pt x="2550" y="1135"/>
                    <a:pt x="2538" y="1158"/>
                    <a:pt x="2556" y="1176"/>
                  </a:cubicBezTo>
                  <a:cubicBezTo>
                    <a:pt x="2579" y="1199"/>
                    <a:pt x="2620" y="1188"/>
                    <a:pt x="2620" y="1217"/>
                  </a:cubicBezTo>
                  <a:cubicBezTo>
                    <a:pt x="2620" y="1263"/>
                    <a:pt x="2579" y="1286"/>
                    <a:pt x="2579" y="1333"/>
                  </a:cubicBezTo>
                  <a:cubicBezTo>
                    <a:pt x="2579" y="1345"/>
                    <a:pt x="2585" y="1356"/>
                    <a:pt x="2591" y="1356"/>
                  </a:cubicBezTo>
                  <a:cubicBezTo>
                    <a:pt x="2608" y="1356"/>
                    <a:pt x="2620" y="1351"/>
                    <a:pt x="2632" y="1333"/>
                  </a:cubicBezTo>
                  <a:cubicBezTo>
                    <a:pt x="2655" y="1339"/>
                    <a:pt x="2655" y="1339"/>
                    <a:pt x="2655" y="1339"/>
                  </a:cubicBezTo>
                  <a:cubicBezTo>
                    <a:pt x="2655" y="1374"/>
                    <a:pt x="2649" y="1391"/>
                    <a:pt x="2649" y="1432"/>
                  </a:cubicBezTo>
                  <a:cubicBezTo>
                    <a:pt x="2649" y="1519"/>
                    <a:pt x="2701" y="1560"/>
                    <a:pt x="2701" y="1653"/>
                  </a:cubicBezTo>
                  <a:cubicBezTo>
                    <a:pt x="2701" y="1700"/>
                    <a:pt x="2661" y="1717"/>
                    <a:pt x="2661" y="1758"/>
                  </a:cubicBezTo>
                  <a:cubicBezTo>
                    <a:pt x="2661" y="1805"/>
                    <a:pt x="2690" y="1822"/>
                    <a:pt x="2713" y="1857"/>
                  </a:cubicBezTo>
                  <a:cubicBezTo>
                    <a:pt x="2736" y="1915"/>
                    <a:pt x="2725" y="1962"/>
                    <a:pt x="2748" y="2026"/>
                  </a:cubicBezTo>
                  <a:cubicBezTo>
                    <a:pt x="2777" y="2090"/>
                    <a:pt x="2818" y="2113"/>
                    <a:pt x="2864" y="2166"/>
                  </a:cubicBezTo>
                  <a:cubicBezTo>
                    <a:pt x="2923" y="2119"/>
                    <a:pt x="2940" y="2043"/>
                    <a:pt x="3010" y="2043"/>
                  </a:cubicBezTo>
                  <a:cubicBezTo>
                    <a:pt x="3027" y="2043"/>
                    <a:pt x="3033" y="2055"/>
                    <a:pt x="3051" y="2055"/>
                  </a:cubicBezTo>
                  <a:cubicBezTo>
                    <a:pt x="3092" y="2055"/>
                    <a:pt x="3097" y="2008"/>
                    <a:pt x="3132" y="1997"/>
                  </a:cubicBezTo>
                  <a:cubicBezTo>
                    <a:pt x="3144" y="2020"/>
                    <a:pt x="3173" y="2020"/>
                    <a:pt x="3173" y="2043"/>
                  </a:cubicBezTo>
                  <a:cubicBezTo>
                    <a:pt x="3173" y="2049"/>
                    <a:pt x="3167" y="2049"/>
                    <a:pt x="3167" y="2055"/>
                  </a:cubicBezTo>
                  <a:cubicBezTo>
                    <a:pt x="3167" y="2066"/>
                    <a:pt x="3185" y="2066"/>
                    <a:pt x="3191" y="2078"/>
                  </a:cubicBezTo>
                  <a:cubicBezTo>
                    <a:pt x="3214" y="2119"/>
                    <a:pt x="3202" y="2166"/>
                    <a:pt x="3243" y="2189"/>
                  </a:cubicBezTo>
                  <a:cubicBezTo>
                    <a:pt x="3284" y="2206"/>
                    <a:pt x="3330" y="2189"/>
                    <a:pt x="3348" y="2224"/>
                  </a:cubicBezTo>
                  <a:cubicBezTo>
                    <a:pt x="3354" y="2247"/>
                    <a:pt x="3348" y="2264"/>
                    <a:pt x="3365" y="2282"/>
                  </a:cubicBezTo>
                  <a:cubicBezTo>
                    <a:pt x="3400" y="2317"/>
                    <a:pt x="3441" y="2311"/>
                    <a:pt x="3476" y="2340"/>
                  </a:cubicBezTo>
                  <a:cubicBezTo>
                    <a:pt x="3499" y="2358"/>
                    <a:pt x="3534" y="2358"/>
                    <a:pt x="3534" y="2387"/>
                  </a:cubicBezTo>
                  <a:cubicBezTo>
                    <a:pt x="3534" y="2422"/>
                    <a:pt x="3499" y="2433"/>
                    <a:pt x="3499" y="2474"/>
                  </a:cubicBezTo>
                  <a:cubicBezTo>
                    <a:pt x="3499" y="2503"/>
                    <a:pt x="3511" y="2526"/>
                    <a:pt x="3534" y="2550"/>
                  </a:cubicBezTo>
                  <a:cubicBezTo>
                    <a:pt x="3511" y="2573"/>
                    <a:pt x="3493" y="2596"/>
                    <a:pt x="3493" y="2625"/>
                  </a:cubicBezTo>
                  <a:cubicBezTo>
                    <a:pt x="3493" y="2695"/>
                    <a:pt x="3563" y="2718"/>
                    <a:pt x="3563" y="2788"/>
                  </a:cubicBezTo>
                  <a:cubicBezTo>
                    <a:pt x="3563" y="2806"/>
                    <a:pt x="3557" y="2818"/>
                    <a:pt x="3557" y="2835"/>
                  </a:cubicBezTo>
                  <a:cubicBezTo>
                    <a:pt x="3557" y="2870"/>
                    <a:pt x="3610" y="2876"/>
                    <a:pt x="3610" y="2911"/>
                  </a:cubicBezTo>
                  <a:cubicBezTo>
                    <a:pt x="3610" y="2940"/>
                    <a:pt x="3592" y="2957"/>
                    <a:pt x="3592" y="2992"/>
                  </a:cubicBezTo>
                  <a:cubicBezTo>
                    <a:pt x="3592" y="3004"/>
                    <a:pt x="3598" y="3010"/>
                    <a:pt x="3598" y="3027"/>
                  </a:cubicBezTo>
                  <a:cubicBezTo>
                    <a:pt x="3598" y="3050"/>
                    <a:pt x="3569" y="3056"/>
                    <a:pt x="3569" y="3085"/>
                  </a:cubicBezTo>
                  <a:cubicBezTo>
                    <a:pt x="3569" y="3138"/>
                    <a:pt x="3621" y="3155"/>
                    <a:pt x="3650" y="3196"/>
                  </a:cubicBezTo>
                  <a:cubicBezTo>
                    <a:pt x="3703" y="3272"/>
                    <a:pt x="3726" y="3324"/>
                    <a:pt x="3802" y="3376"/>
                  </a:cubicBezTo>
                  <a:cubicBezTo>
                    <a:pt x="3819" y="3370"/>
                    <a:pt x="3819" y="3370"/>
                    <a:pt x="3819" y="3370"/>
                  </a:cubicBezTo>
                  <a:cubicBezTo>
                    <a:pt x="3819" y="3382"/>
                    <a:pt x="3813" y="3394"/>
                    <a:pt x="3813" y="3405"/>
                  </a:cubicBezTo>
                  <a:cubicBezTo>
                    <a:pt x="3813" y="3429"/>
                    <a:pt x="3831" y="3440"/>
                    <a:pt x="3837" y="3464"/>
                  </a:cubicBezTo>
                  <a:cubicBezTo>
                    <a:pt x="3866" y="3539"/>
                    <a:pt x="3877" y="3586"/>
                    <a:pt x="3895" y="3673"/>
                  </a:cubicBezTo>
                  <a:cubicBezTo>
                    <a:pt x="3901" y="3685"/>
                    <a:pt x="3907" y="3691"/>
                    <a:pt x="3907" y="3702"/>
                  </a:cubicBezTo>
                  <a:cubicBezTo>
                    <a:pt x="3907" y="3766"/>
                    <a:pt x="3907" y="3807"/>
                    <a:pt x="3907" y="3871"/>
                  </a:cubicBezTo>
                  <a:cubicBezTo>
                    <a:pt x="3860" y="3982"/>
                    <a:pt x="3860" y="3982"/>
                    <a:pt x="3860" y="3982"/>
                  </a:cubicBezTo>
                  <a:cubicBezTo>
                    <a:pt x="3866" y="4034"/>
                    <a:pt x="3877" y="4069"/>
                    <a:pt x="3912" y="4104"/>
                  </a:cubicBezTo>
                  <a:cubicBezTo>
                    <a:pt x="3947" y="4133"/>
                    <a:pt x="3959" y="4151"/>
                    <a:pt x="3988" y="4180"/>
                  </a:cubicBezTo>
                  <a:cubicBezTo>
                    <a:pt x="4000" y="4185"/>
                    <a:pt x="4011" y="4191"/>
                    <a:pt x="4011" y="4203"/>
                  </a:cubicBezTo>
                  <a:cubicBezTo>
                    <a:pt x="4011" y="4244"/>
                    <a:pt x="3994" y="4267"/>
                    <a:pt x="3994" y="4308"/>
                  </a:cubicBezTo>
                  <a:cubicBezTo>
                    <a:pt x="3994" y="4348"/>
                    <a:pt x="4011" y="4372"/>
                    <a:pt x="4035" y="4407"/>
                  </a:cubicBezTo>
                  <a:cubicBezTo>
                    <a:pt x="4104" y="4465"/>
                    <a:pt x="4157" y="4488"/>
                    <a:pt x="4238" y="4529"/>
                  </a:cubicBezTo>
                  <a:cubicBezTo>
                    <a:pt x="4279" y="4546"/>
                    <a:pt x="4285" y="4581"/>
                    <a:pt x="4326" y="4599"/>
                  </a:cubicBezTo>
                  <a:cubicBezTo>
                    <a:pt x="4332" y="4564"/>
                    <a:pt x="4343" y="4546"/>
                    <a:pt x="4372" y="4529"/>
                  </a:cubicBezTo>
                  <a:cubicBezTo>
                    <a:pt x="4372" y="4541"/>
                    <a:pt x="4372" y="4541"/>
                    <a:pt x="4372" y="4541"/>
                  </a:cubicBezTo>
                  <a:cubicBezTo>
                    <a:pt x="4361" y="4558"/>
                    <a:pt x="4361" y="4558"/>
                    <a:pt x="4361" y="4558"/>
                  </a:cubicBezTo>
                  <a:cubicBezTo>
                    <a:pt x="4378" y="4611"/>
                    <a:pt x="4430" y="4634"/>
                    <a:pt x="4489" y="4634"/>
                  </a:cubicBezTo>
                  <a:cubicBezTo>
                    <a:pt x="4518" y="4634"/>
                    <a:pt x="4535" y="4622"/>
                    <a:pt x="4570" y="4616"/>
                  </a:cubicBezTo>
                  <a:cubicBezTo>
                    <a:pt x="4588" y="4651"/>
                    <a:pt x="4611" y="4663"/>
                    <a:pt x="4611" y="4704"/>
                  </a:cubicBezTo>
                  <a:cubicBezTo>
                    <a:pt x="4611" y="4715"/>
                    <a:pt x="4605" y="4721"/>
                    <a:pt x="4605" y="4739"/>
                  </a:cubicBezTo>
                  <a:cubicBezTo>
                    <a:pt x="4605" y="4797"/>
                    <a:pt x="4658" y="4814"/>
                    <a:pt x="4698" y="4855"/>
                  </a:cubicBezTo>
                  <a:cubicBezTo>
                    <a:pt x="4710" y="4826"/>
                    <a:pt x="4710" y="4808"/>
                    <a:pt x="4727" y="4779"/>
                  </a:cubicBezTo>
                  <a:cubicBezTo>
                    <a:pt x="4751" y="4785"/>
                    <a:pt x="4751" y="4785"/>
                    <a:pt x="4751" y="4785"/>
                  </a:cubicBezTo>
                  <a:cubicBezTo>
                    <a:pt x="4751" y="4837"/>
                    <a:pt x="4774" y="4902"/>
                    <a:pt x="4826" y="4902"/>
                  </a:cubicBezTo>
                  <a:cubicBezTo>
                    <a:pt x="4844" y="4902"/>
                    <a:pt x="4844" y="4867"/>
                    <a:pt x="4861" y="4867"/>
                  </a:cubicBezTo>
                  <a:cubicBezTo>
                    <a:pt x="4896" y="4867"/>
                    <a:pt x="4902" y="4902"/>
                    <a:pt x="4925" y="4925"/>
                  </a:cubicBezTo>
                  <a:cubicBezTo>
                    <a:pt x="4972" y="4960"/>
                    <a:pt x="4989" y="4995"/>
                    <a:pt x="5048" y="5012"/>
                  </a:cubicBezTo>
                  <a:cubicBezTo>
                    <a:pt x="5048" y="4995"/>
                    <a:pt x="5059" y="4983"/>
                    <a:pt x="5071" y="4977"/>
                  </a:cubicBezTo>
                  <a:cubicBezTo>
                    <a:pt x="5082" y="5000"/>
                    <a:pt x="5082" y="5018"/>
                    <a:pt x="5100" y="5030"/>
                  </a:cubicBezTo>
                  <a:cubicBezTo>
                    <a:pt x="5118" y="5041"/>
                    <a:pt x="5135" y="5035"/>
                    <a:pt x="5147" y="5053"/>
                  </a:cubicBezTo>
                  <a:cubicBezTo>
                    <a:pt x="5152" y="5059"/>
                    <a:pt x="5147" y="5076"/>
                    <a:pt x="5158" y="5082"/>
                  </a:cubicBezTo>
                  <a:cubicBezTo>
                    <a:pt x="5187" y="5100"/>
                    <a:pt x="5222" y="5100"/>
                    <a:pt x="5222" y="5129"/>
                  </a:cubicBezTo>
                  <a:cubicBezTo>
                    <a:pt x="5222" y="5146"/>
                    <a:pt x="5205" y="5163"/>
                    <a:pt x="5181" y="5163"/>
                  </a:cubicBezTo>
                  <a:cubicBezTo>
                    <a:pt x="5170" y="5163"/>
                    <a:pt x="5164" y="5152"/>
                    <a:pt x="5152" y="5146"/>
                  </a:cubicBezTo>
                  <a:cubicBezTo>
                    <a:pt x="5152" y="5152"/>
                    <a:pt x="5147" y="5158"/>
                    <a:pt x="5147" y="5158"/>
                  </a:cubicBezTo>
                  <a:cubicBezTo>
                    <a:pt x="5147" y="5169"/>
                    <a:pt x="5158" y="5169"/>
                    <a:pt x="5158" y="5181"/>
                  </a:cubicBezTo>
                  <a:cubicBezTo>
                    <a:pt x="5158" y="5193"/>
                    <a:pt x="5141" y="5198"/>
                    <a:pt x="5141" y="5210"/>
                  </a:cubicBezTo>
                  <a:cubicBezTo>
                    <a:pt x="5141" y="5233"/>
                    <a:pt x="5158" y="5245"/>
                    <a:pt x="5170" y="5268"/>
                  </a:cubicBezTo>
                  <a:cubicBezTo>
                    <a:pt x="5222" y="5321"/>
                    <a:pt x="5234" y="5402"/>
                    <a:pt x="5310" y="5391"/>
                  </a:cubicBezTo>
                  <a:cubicBezTo>
                    <a:pt x="5310" y="5408"/>
                    <a:pt x="5310" y="5414"/>
                    <a:pt x="5310" y="5431"/>
                  </a:cubicBezTo>
                  <a:cubicBezTo>
                    <a:pt x="5321" y="5437"/>
                    <a:pt x="5321" y="5437"/>
                    <a:pt x="5321" y="5437"/>
                  </a:cubicBezTo>
                  <a:cubicBezTo>
                    <a:pt x="5327" y="5431"/>
                    <a:pt x="5327" y="5431"/>
                    <a:pt x="5333" y="5431"/>
                  </a:cubicBezTo>
                  <a:cubicBezTo>
                    <a:pt x="5350" y="5431"/>
                    <a:pt x="5350" y="5449"/>
                    <a:pt x="5362" y="5466"/>
                  </a:cubicBezTo>
                  <a:cubicBezTo>
                    <a:pt x="5374" y="5484"/>
                    <a:pt x="5403" y="5484"/>
                    <a:pt x="5403" y="5501"/>
                  </a:cubicBezTo>
                  <a:cubicBezTo>
                    <a:pt x="5403" y="5524"/>
                    <a:pt x="5385" y="5530"/>
                    <a:pt x="5385" y="5548"/>
                  </a:cubicBezTo>
                  <a:cubicBezTo>
                    <a:pt x="5385" y="5559"/>
                    <a:pt x="5391" y="5565"/>
                    <a:pt x="5391" y="5571"/>
                  </a:cubicBezTo>
                  <a:cubicBezTo>
                    <a:pt x="5397" y="5571"/>
                    <a:pt x="5403" y="5565"/>
                    <a:pt x="5414" y="5565"/>
                  </a:cubicBezTo>
                  <a:cubicBezTo>
                    <a:pt x="5432" y="5565"/>
                    <a:pt x="5432" y="5594"/>
                    <a:pt x="5432" y="5618"/>
                  </a:cubicBezTo>
                  <a:cubicBezTo>
                    <a:pt x="5438" y="5658"/>
                    <a:pt x="5432" y="5717"/>
                    <a:pt x="5473" y="5717"/>
                  </a:cubicBezTo>
                  <a:cubicBezTo>
                    <a:pt x="5478" y="5717"/>
                    <a:pt x="5484" y="5717"/>
                    <a:pt x="5490" y="5711"/>
                  </a:cubicBezTo>
                  <a:cubicBezTo>
                    <a:pt x="5496" y="5728"/>
                    <a:pt x="5519" y="5734"/>
                    <a:pt x="5519" y="5757"/>
                  </a:cubicBezTo>
                  <a:cubicBezTo>
                    <a:pt x="5519" y="5781"/>
                    <a:pt x="5507" y="5792"/>
                    <a:pt x="5507" y="5815"/>
                  </a:cubicBezTo>
                  <a:cubicBezTo>
                    <a:pt x="5507" y="5926"/>
                    <a:pt x="5595" y="5973"/>
                    <a:pt x="5595" y="6089"/>
                  </a:cubicBezTo>
                  <a:cubicBezTo>
                    <a:pt x="5595" y="6101"/>
                    <a:pt x="5583" y="6107"/>
                    <a:pt x="5583" y="6118"/>
                  </a:cubicBezTo>
                  <a:cubicBezTo>
                    <a:pt x="5583" y="6136"/>
                    <a:pt x="5601" y="6136"/>
                    <a:pt x="5607" y="6141"/>
                  </a:cubicBezTo>
                  <a:cubicBezTo>
                    <a:pt x="5624" y="6159"/>
                    <a:pt x="5624" y="6188"/>
                    <a:pt x="5647" y="6188"/>
                  </a:cubicBezTo>
                  <a:cubicBezTo>
                    <a:pt x="5659" y="6188"/>
                    <a:pt x="5659" y="6171"/>
                    <a:pt x="5670" y="6171"/>
                  </a:cubicBezTo>
                  <a:cubicBezTo>
                    <a:pt x="5781" y="6171"/>
                    <a:pt x="5822" y="6380"/>
                    <a:pt x="5764" y="6141"/>
                  </a:cubicBezTo>
                  <a:cubicBezTo>
                    <a:pt x="5775" y="6124"/>
                    <a:pt x="5775" y="6124"/>
                    <a:pt x="5775" y="6124"/>
                  </a:cubicBezTo>
                  <a:cubicBezTo>
                    <a:pt x="5770" y="6112"/>
                    <a:pt x="5764" y="6107"/>
                    <a:pt x="5764" y="6095"/>
                  </a:cubicBezTo>
                  <a:cubicBezTo>
                    <a:pt x="5764" y="6066"/>
                    <a:pt x="5770" y="6037"/>
                    <a:pt x="5793" y="6037"/>
                  </a:cubicBezTo>
                  <a:cubicBezTo>
                    <a:pt x="5833" y="6037"/>
                    <a:pt x="5822" y="6083"/>
                    <a:pt x="5851" y="6112"/>
                  </a:cubicBezTo>
                  <a:cubicBezTo>
                    <a:pt x="5892" y="6159"/>
                    <a:pt x="5927" y="6182"/>
                    <a:pt x="5973" y="6229"/>
                  </a:cubicBezTo>
                  <a:cubicBezTo>
                    <a:pt x="6008" y="6258"/>
                    <a:pt x="6026" y="6281"/>
                    <a:pt x="6072" y="6287"/>
                  </a:cubicBezTo>
                  <a:cubicBezTo>
                    <a:pt x="6072" y="6223"/>
                    <a:pt x="6072" y="6223"/>
                    <a:pt x="6072" y="6223"/>
                  </a:cubicBezTo>
                  <a:cubicBezTo>
                    <a:pt x="6072" y="6194"/>
                    <a:pt x="6055" y="6176"/>
                    <a:pt x="6055" y="6147"/>
                  </a:cubicBezTo>
                  <a:cubicBezTo>
                    <a:pt x="6055" y="6130"/>
                    <a:pt x="6055" y="6130"/>
                    <a:pt x="6055" y="6130"/>
                  </a:cubicBezTo>
                  <a:cubicBezTo>
                    <a:pt x="6061" y="6130"/>
                    <a:pt x="6061" y="6124"/>
                    <a:pt x="6066" y="6124"/>
                  </a:cubicBezTo>
                  <a:cubicBezTo>
                    <a:pt x="6090" y="6124"/>
                    <a:pt x="6084" y="6165"/>
                    <a:pt x="6101" y="6182"/>
                  </a:cubicBezTo>
                  <a:cubicBezTo>
                    <a:pt x="6130" y="6217"/>
                    <a:pt x="6125" y="6246"/>
                    <a:pt x="6142" y="6281"/>
                  </a:cubicBezTo>
                  <a:cubicBezTo>
                    <a:pt x="6154" y="6310"/>
                    <a:pt x="6177" y="6328"/>
                    <a:pt x="6177" y="6357"/>
                  </a:cubicBezTo>
                  <a:cubicBezTo>
                    <a:pt x="6177" y="6380"/>
                    <a:pt x="6154" y="6392"/>
                    <a:pt x="6154" y="6415"/>
                  </a:cubicBezTo>
                  <a:cubicBezTo>
                    <a:pt x="6154" y="6438"/>
                    <a:pt x="6171" y="6456"/>
                    <a:pt x="6177" y="6479"/>
                  </a:cubicBezTo>
                  <a:cubicBezTo>
                    <a:pt x="6189" y="6561"/>
                    <a:pt x="6194" y="6601"/>
                    <a:pt x="6194" y="6683"/>
                  </a:cubicBezTo>
                  <a:cubicBezTo>
                    <a:pt x="6194" y="6706"/>
                    <a:pt x="6194" y="6706"/>
                    <a:pt x="6194" y="6706"/>
                  </a:cubicBezTo>
                  <a:cubicBezTo>
                    <a:pt x="6189" y="6706"/>
                    <a:pt x="6189" y="6706"/>
                    <a:pt x="6183" y="6706"/>
                  </a:cubicBezTo>
                  <a:cubicBezTo>
                    <a:pt x="6177" y="6706"/>
                    <a:pt x="6171" y="6700"/>
                    <a:pt x="6165" y="6700"/>
                  </a:cubicBezTo>
                  <a:cubicBezTo>
                    <a:pt x="6148" y="6700"/>
                    <a:pt x="6119" y="6706"/>
                    <a:pt x="6119" y="6724"/>
                  </a:cubicBezTo>
                  <a:cubicBezTo>
                    <a:pt x="6119" y="6747"/>
                    <a:pt x="6142" y="6747"/>
                    <a:pt x="6154" y="6764"/>
                  </a:cubicBezTo>
                  <a:cubicBezTo>
                    <a:pt x="6183" y="6793"/>
                    <a:pt x="6212" y="6793"/>
                    <a:pt x="6241" y="6823"/>
                  </a:cubicBezTo>
                  <a:cubicBezTo>
                    <a:pt x="6259" y="6811"/>
                    <a:pt x="6253" y="6793"/>
                    <a:pt x="6264" y="6776"/>
                  </a:cubicBezTo>
                  <a:cubicBezTo>
                    <a:pt x="6322" y="6805"/>
                    <a:pt x="6328" y="6858"/>
                    <a:pt x="6363" y="6916"/>
                  </a:cubicBezTo>
                  <a:cubicBezTo>
                    <a:pt x="6381" y="6939"/>
                    <a:pt x="6410" y="6939"/>
                    <a:pt x="6439" y="6962"/>
                  </a:cubicBezTo>
                  <a:cubicBezTo>
                    <a:pt x="6456" y="6974"/>
                    <a:pt x="6462" y="6991"/>
                    <a:pt x="6474" y="7015"/>
                  </a:cubicBezTo>
                  <a:cubicBezTo>
                    <a:pt x="6491" y="7044"/>
                    <a:pt x="6520" y="7044"/>
                    <a:pt x="6555" y="7056"/>
                  </a:cubicBezTo>
                  <a:cubicBezTo>
                    <a:pt x="6567" y="7044"/>
                    <a:pt x="6573" y="7032"/>
                    <a:pt x="6585" y="7032"/>
                  </a:cubicBezTo>
                  <a:cubicBezTo>
                    <a:pt x="6602" y="7032"/>
                    <a:pt x="6608" y="7044"/>
                    <a:pt x="6625" y="7056"/>
                  </a:cubicBezTo>
                  <a:cubicBezTo>
                    <a:pt x="6678" y="7073"/>
                    <a:pt x="6713" y="7090"/>
                    <a:pt x="6736" y="7143"/>
                  </a:cubicBezTo>
                  <a:cubicBezTo>
                    <a:pt x="6753" y="7184"/>
                    <a:pt x="6765" y="7213"/>
                    <a:pt x="6759" y="7259"/>
                  </a:cubicBezTo>
                  <a:cubicBezTo>
                    <a:pt x="6771" y="7259"/>
                    <a:pt x="6771" y="7259"/>
                    <a:pt x="6771" y="7259"/>
                  </a:cubicBezTo>
                  <a:cubicBezTo>
                    <a:pt x="6806" y="7288"/>
                    <a:pt x="6800" y="7329"/>
                    <a:pt x="6835" y="7358"/>
                  </a:cubicBezTo>
                  <a:cubicBezTo>
                    <a:pt x="6870" y="7393"/>
                    <a:pt x="6916" y="7376"/>
                    <a:pt x="6951" y="7411"/>
                  </a:cubicBezTo>
                  <a:cubicBezTo>
                    <a:pt x="6974" y="7434"/>
                    <a:pt x="6957" y="7463"/>
                    <a:pt x="6963" y="7492"/>
                  </a:cubicBezTo>
                  <a:cubicBezTo>
                    <a:pt x="6974" y="7533"/>
                    <a:pt x="7010" y="7545"/>
                    <a:pt x="7021" y="7579"/>
                  </a:cubicBezTo>
                  <a:cubicBezTo>
                    <a:pt x="7027" y="7608"/>
                    <a:pt x="7033" y="7626"/>
                    <a:pt x="7056" y="7638"/>
                  </a:cubicBezTo>
                  <a:cubicBezTo>
                    <a:pt x="7091" y="7655"/>
                    <a:pt x="7108" y="7667"/>
                    <a:pt x="7143" y="7673"/>
                  </a:cubicBezTo>
                  <a:cubicBezTo>
                    <a:pt x="7161" y="7678"/>
                    <a:pt x="7190" y="7678"/>
                    <a:pt x="7190" y="7696"/>
                  </a:cubicBezTo>
                  <a:cubicBezTo>
                    <a:pt x="7190" y="7754"/>
                    <a:pt x="7161" y="7777"/>
                    <a:pt x="7161" y="7830"/>
                  </a:cubicBezTo>
                  <a:cubicBezTo>
                    <a:pt x="7161" y="7905"/>
                    <a:pt x="7207" y="7940"/>
                    <a:pt x="7260" y="7987"/>
                  </a:cubicBezTo>
                  <a:cubicBezTo>
                    <a:pt x="7277" y="8010"/>
                    <a:pt x="7312" y="8010"/>
                    <a:pt x="7312" y="8039"/>
                  </a:cubicBezTo>
                  <a:cubicBezTo>
                    <a:pt x="7312" y="8115"/>
                    <a:pt x="7260" y="8150"/>
                    <a:pt x="7260" y="8226"/>
                  </a:cubicBezTo>
                  <a:cubicBezTo>
                    <a:pt x="7260" y="8249"/>
                    <a:pt x="7271" y="8260"/>
                    <a:pt x="7271" y="8284"/>
                  </a:cubicBezTo>
                  <a:cubicBezTo>
                    <a:pt x="7277" y="8284"/>
                    <a:pt x="7277" y="8284"/>
                    <a:pt x="7283" y="8284"/>
                  </a:cubicBezTo>
                  <a:cubicBezTo>
                    <a:pt x="7289" y="8284"/>
                    <a:pt x="7289" y="8278"/>
                    <a:pt x="7295" y="8278"/>
                  </a:cubicBezTo>
                  <a:cubicBezTo>
                    <a:pt x="7306" y="8301"/>
                    <a:pt x="7306" y="8319"/>
                    <a:pt x="7306" y="8342"/>
                  </a:cubicBezTo>
                  <a:cubicBezTo>
                    <a:pt x="7306" y="8377"/>
                    <a:pt x="7306" y="8377"/>
                    <a:pt x="7306" y="8377"/>
                  </a:cubicBezTo>
                  <a:cubicBezTo>
                    <a:pt x="7306" y="8406"/>
                    <a:pt x="7318" y="8423"/>
                    <a:pt x="7336" y="8447"/>
                  </a:cubicBezTo>
                  <a:cubicBezTo>
                    <a:pt x="7289" y="8482"/>
                    <a:pt x="7266" y="8523"/>
                    <a:pt x="7266" y="8581"/>
                  </a:cubicBezTo>
                  <a:cubicBezTo>
                    <a:pt x="7266" y="8604"/>
                    <a:pt x="7289" y="8610"/>
                    <a:pt x="7306" y="8627"/>
                  </a:cubicBezTo>
                  <a:cubicBezTo>
                    <a:pt x="7295" y="8645"/>
                    <a:pt x="7266" y="8645"/>
                    <a:pt x="7266" y="8668"/>
                  </a:cubicBezTo>
                  <a:cubicBezTo>
                    <a:pt x="7266" y="8697"/>
                    <a:pt x="7300" y="8703"/>
                    <a:pt x="7312" y="8738"/>
                  </a:cubicBezTo>
                  <a:cubicBezTo>
                    <a:pt x="7324" y="8761"/>
                    <a:pt x="7318" y="8784"/>
                    <a:pt x="7330" y="8808"/>
                  </a:cubicBezTo>
                  <a:cubicBezTo>
                    <a:pt x="7341" y="8854"/>
                    <a:pt x="7376" y="8860"/>
                    <a:pt x="7399" y="8901"/>
                  </a:cubicBezTo>
                  <a:cubicBezTo>
                    <a:pt x="7394" y="8924"/>
                    <a:pt x="7388" y="8936"/>
                    <a:pt x="7388" y="8965"/>
                  </a:cubicBezTo>
                  <a:cubicBezTo>
                    <a:pt x="7388" y="9075"/>
                    <a:pt x="7469" y="9134"/>
                    <a:pt x="7499" y="9221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" name="Freeform 10"/>
            <p:cNvSpPr>
              <a:spLocks noChangeArrowheads="1"/>
            </p:cNvSpPr>
            <p:nvPr/>
          </p:nvSpPr>
          <p:spPr bwMode="auto">
            <a:xfrm>
              <a:off x="16303784" y="6808153"/>
              <a:ext cx="2547369" cy="3044236"/>
            </a:xfrm>
            <a:custGeom>
              <a:avLst/>
              <a:gdLst>
                <a:gd name="T0" fmla="*/ 4254 w 5792"/>
                <a:gd name="T1" fmla="*/ 5564 h 6921"/>
                <a:gd name="T2" fmla="*/ 4336 w 5792"/>
                <a:gd name="T3" fmla="*/ 5506 h 6921"/>
                <a:gd name="T4" fmla="*/ 3696 w 5792"/>
                <a:gd name="T5" fmla="*/ 5640 h 6921"/>
                <a:gd name="T6" fmla="*/ 3853 w 5792"/>
                <a:gd name="T7" fmla="*/ 5686 h 6921"/>
                <a:gd name="T8" fmla="*/ 3957 w 5792"/>
                <a:gd name="T9" fmla="*/ 5651 h 6921"/>
                <a:gd name="T10" fmla="*/ 4109 w 5792"/>
                <a:gd name="T11" fmla="*/ 5715 h 6921"/>
                <a:gd name="T12" fmla="*/ 4219 w 5792"/>
                <a:gd name="T13" fmla="*/ 5523 h 6921"/>
                <a:gd name="T14" fmla="*/ 4149 w 5792"/>
                <a:gd name="T15" fmla="*/ 5453 h 6921"/>
                <a:gd name="T16" fmla="*/ 3672 w 5792"/>
                <a:gd name="T17" fmla="*/ 5517 h 6921"/>
                <a:gd name="T18" fmla="*/ 0 w 5792"/>
                <a:gd name="T19" fmla="*/ 3148 h 6921"/>
                <a:gd name="T20" fmla="*/ 0 w 5792"/>
                <a:gd name="T21" fmla="*/ 0 h 6921"/>
                <a:gd name="T22" fmla="*/ 5791 w 5792"/>
                <a:gd name="T23" fmla="*/ 23 h 6921"/>
                <a:gd name="T24" fmla="*/ 5780 w 5792"/>
                <a:gd name="T25" fmla="*/ 4504 h 6921"/>
                <a:gd name="T26" fmla="*/ 5774 w 5792"/>
                <a:gd name="T27" fmla="*/ 6914 h 6921"/>
                <a:gd name="T28" fmla="*/ 5553 w 5792"/>
                <a:gd name="T29" fmla="*/ 6856 h 6921"/>
                <a:gd name="T30" fmla="*/ 5337 w 5792"/>
                <a:gd name="T31" fmla="*/ 6554 h 6921"/>
                <a:gd name="T32" fmla="*/ 5215 w 5792"/>
                <a:gd name="T33" fmla="*/ 6350 h 6921"/>
                <a:gd name="T34" fmla="*/ 5250 w 5792"/>
                <a:gd name="T35" fmla="*/ 6036 h 6921"/>
                <a:gd name="T36" fmla="*/ 4895 w 5792"/>
                <a:gd name="T37" fmla="*/ 5442 h 6921"/>
                <a:gd name="T38" fmla="*/ 4924 w 5792"/>
                <a:gd name="T39" fmla="*/ 5366 h 6921"/>
                <a:gd name="T40" fmla="*/ 4953 w 5792"/>
                <a:gd name="T41" fmla="*/ 5500 h 6921"/>
                <a:gd name="T42" fmla="*/ 4825 w 5792"/>
                <a:gd name="T43" fmla="*/ 5319 h 6921"/>
                <a:gd name="T44" fmla="*/ 4493 w 5792"/>
                <a:gd name="T45" fmla="*/ 5459 h 6921"/>
                <a:gd name="T46" fmla="*/ 4481 w 5792"/>
                <a:gd name="T47" fmla="*/ 5366 h 6921"/>
                <a:gd name="T48" fmla="*/ 4505 w 5792"/>
                <a:gd name="T49" fmla="*/ 4801 h 6921"/>
                <a:gd name="T50" fmla="*/ 4342 w 5792"/>
                <a:gd name="T51" fmla="*/ 4662 h 6921"/>
                <a:gd name="T52" fmla="*/ 4225 w 5792"/>
                <a:gd name="T53" fmla="*/ 5063 h 6921"/>
                <a:gd name="T54" fmla="*/ 3800 w 5792"/>
                <a:gd name="T55" fmla="*/ 5232 h 6921"/>
                <a:gd name="T56" fmla="*/ 3818 w 5792"/>
                <a:gd name="T57" fmla="*/ 5127 h 6921"/>
                <a:gd name="T58" fmla="*/ 4010 w 5792"/>
                <a:gd name="T59" fmla="*/ 5017 h 6921"/>
                <a:gd name="T60" fmla="*/ 4103 w 5792"/>
                <a:gd name="T61" fmla="*/ 4609 h 6921"/>
                <a:gd name="T62" fmla="*/ 4120 w 5792"/>
                <a:gd name="T63" fmla="*/ 4469 h 6921"/>
                <a:gd name="T64" fmla="*/ 4231 w 5792"/>
                <a:gd name="T65" fmla="*/ 4312 h 6921"/>
                <a:gd name="T66" fmla="*/ 4260 w 5792"/>
                <a:gd name="T67" fmla="*/ 4062 h 6921"/>
                <a:gd name="T68" fmla="*/ 4266 w 5792"/>
                <a:gd name="T69" fmla="*/ 4004 h 6921"/>
                <a:gd name="T70" fmla="*/ 4359 w 5792"/>
                <a:gd name="T71" fmla="*/ 3986 h 6921"/>
                <a:gd name="T72" fmla="*/ 4225 w 5792"/>
                <a:gd name="T73" fmla="*/ 3608 h 6921"/>
                <a:gd name="T74" fmla="*/ 4202 w 5792"/>
                <a:gd name="T75" fmla="*/ 3870 h 6921"/>
                <a:gd name="T76" fmla="*/ 4062 w 5792"/>
                <a:gd name="T77" fmla="*/ 3957 h 6921"/>
                <a:gd name="T78" fmla="*/ 4033 w 5792"/>
                <a:gd name="T79" fmla="*/ 4132 h 6921"/>
                <a:gd name="T80" fmla="*/ 3812 w 5792"/>
                <a:gd name="T81" fmla="*/ 4301 h 6921"/>
                <a:gd name="T82" fmla="*/ 3666 w 5792"/>
                <a:gd name="T83" fmla="*/ 4406 h 6921"/>
                <a:gd name="T84" fmla="*/ 3416 w 5792"/>
                <a:gd name="T85" fmla="*/ 4714 h 6921"/>
                <a:gd name="T86" fmla="*/ 3300 w 5792"/>
                <a:gd name="T87" fmla="*/ 4889 h 6921"/>
                <a:gd name="T88" fmla="*/ 3288 w 5792"/>
                <a:gd name="T89" fmla="*/ 4964 h 6921"/>
                <a:gd name="T90" fmla="*/ 3218 w 5792"/>
                <a:gd name="T91" fmla="*/ 4970 h 6921"/>
                <a:gd name="T92" fmla="*/ 3131 w 5792"/>
                <a:gd name="T93" fmla="*/ 4906 h 6921"/>
                <a:gd name="T94" fmla="*/ 3119 w 5792"/>
                <a:gd name="T95" fmla="*/ 4825 h 6921"/>
                <a:gd name="T96" fmla="*/ 3026 w 5792"/>
                <a:gd name="T97" fmla="*/ 4557 h 6921"/>
                <a:gd name="T98" fmla="*/ 2968 w 5792"/>
                <a:gd name="T99" fmla="*/ 4388 h 6921"/>
                <a:gd name="T100" fmla="*/ 2805 w 5792"/>
                <a:gd name="T101" fmla="*/ 4080 h 6921"/>
                <a:gd name="T102" fmla="*/ 2619 w 5792"/>
                <a:gd name="T103" fmla="*/ 3969 h 6921"/>
                <a:gd name="T104" fmla="*/ 2502 w 5792"/>
                <a:gd name="T105" fmla="*/ 3847 h 6921"/>
                <a:gd name="T106" fmla="*/ 2514 w 5792"/>
                <a:gd name="T107" fmla="*/ 3783 h 6921"/>
                <a:gd name="T108" fmla="*/ 2345 w 5792"/>
                <a:gd name="T109" fmla="*/ 3625 h 6921"/>
                <a:gd name="T110" fmla="*/ 2345 w 5792"/>
                <a:gd name="T111" fmla="*/ 3561 h 6921"/>
                <a:gd name="T112" fmla="*/ 2269 w 5792"/>
                <a:gd name="T113" fmla="*/ 3428 h 6921"/>
                <a:gd name="T114" fmla="*/ 2153 w 5792"/>
                <a:gd name="T115" fmla="*/ 3381 h 6921"/>
                <a:gd name="T116" fmla="*/ 1903 w 5792"/>
                <a:gd name="T117" fmla="*/ 3358 h 6921"/>
                <a:gd name="T118" fmla="*/ 1531 w 5792"/>
                <a:gd name="T119" fmla="*/ 3334 h 6921"/>
                <a:gd name="T120" fmla="*/ 1053 w 5792"/>
                <a:gd name="T121" fmla="*/ 3008 h 6921"/>
                <a:gd name="T122" fmla="*/ 693 w 5792"/>
                <a:gd name="T123" fmla="*/ 3084 h 6921"/>
                <a:gd name="T124" fmla="*/ 64 w 5792"/>
                <a:gd name="T125" fmla="*/ 3148 h 6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92" h="6921">
                  <a:moveTo>
                    <a:pt x="4336" y="5506"/>
                  </a:moveTo>
                  <a:lnTo>
                    <a:pt x="4336" y="5506"/>
                  </a:lnTo>
                  <a:cubicBezTo>
                    <a:pt x="4295" y="5511"/>
                    <a:pt x="4278" y="5535"/>
                    <a:pt x="4254" y="5564"/>
                  </a:cubicBezTo>
                  <a:cubicBezTo>
                    <a:pt x="4283" y="5599"/>
                    <a:pt x="4318" y="5599"/>
                    <a:pt x="4365" y="5599"/>
                  </a:cubicBezTo>
                  <a:cubicBezTo>
                    <a:pt x="4377" y="5599"/>
                    <a:pt x="4382" y="5581"/>
                    <a:pt x="4400" y="5576"/>
                  </a:cubicBezTo>
                  <a:cubicBezTo>
                    <a:pt x="4382" y="5547"/>
                    <a:pt x="4365" y="5523"/>
                    <a:pt x="4336" y="5506"/>
                  </a:cubicBezTo>
                  <a:close/>
                  <a:moveTo>
                    <a:pt x="3643" y="5605"/>
                  </a:moveTo>
                  <a:lnTo>
                    <a:pt x="3643" y="5605"/>
                  </a:lnTo>
                  <a:cubicBezTo>
                    <a:pt x="3643" y="5634"/>
                    <a:pt x="3678" y="5628"/>
                    <a:pt x="3696" y="5640"/>
                  </a:cubicBezTo>
                  <a:cubicBezTo>
                    <a:pt x="3713" y="5651"/>
                    <a:pt x="3719" y="5674"/>
                    <a:pt x="3736" y="5674"/>
                  </a:cubicBezTo>
                  <a:cubicBezTo>
                    <a:pt x="3800" y="5674"/>
                    <a:pt x="3800" y="5674"/>
                    <a:pt x="3800" y="5674"/>
                  </a:cubicBezTo>
                  <a:cubicBezTo>
                    <a:pt x="3853" y="5686"/>
                    <a:pt x="3853" y="5686"/>
                    <a:pt x="3853" y="5686"/>
                  </a:cubicBezTo>
                  <a:cubicBezTo>
                    <a:pt x="3893" y="5686"/>
                    <a:pt x="3917" y="5686"/>
                    <a:pt x="3957" y="5680"/>
                  </a:cubicBezTo>
                  <a:cubicBezTo>
                    <a:pt x="3957" y="5674"/>
                    <a:pt x="3963" y="5669"/>
                    <a:pt x="3963" y="5663"/>
                  </a:cubicBezTo>
                  <a:cubicBezTo>
                    <a:pt x="3963" y="5657"/>
                    <a:pt x="3957" y="5657"/>
                    <a:pt x="3957" y="5651"/>
                  </a:cubicBezTo>
                  <a:cubicBezTo>
                    <a:pt x="3969" y="5645"/>
                    <a:pt x="3969" y="5645"/>
                    <a:pt x="3969" y="5645"/>
                  </a:cubicBezTo>
                  <a:cubicBezTo>
                    <a:pt x="4033" y="5645"/>
                    <a:pt x="4033" y="5645"/>
                    <a:pt x="4033" y="5645"/>
                  </a:cubicBezTo>
                  <a:cubicBezTo>
                    <a:pt x="4056" y="5674"/>
                    <a:pt x="4074" y="5692"/>
                    <a:pt x="4109" y="5715"/>
                  </a:cubicBezTo>
                  <a:cubicBezTo>
                    <a:pt x="4126" y="5674"/>
                    <a:pt x="4149" y="5657"/>
                    <a:pt x="4149" y="5616"/>
                  </a:cubicBezTo>
                  <a:cubicBezTo>
                    <a:pt x="4149" y="5593"/>
                    <a:pt x="4185" y="5605"/>
                    <a:pt x="4202" y="5593"/>
                  </a:cubicBezTo>
                  <a:cubicBezTo>
                    <a:pt x="4225" y="5576"/>
                    <a:pt x="4214" y="5552"/>
                    <a:pt x="4219" y="5523"/>
                  </a:cubicBezTo>
                  <a:cubicBezTo>
                    <a:pt x="4208" y="5523"/>
                    <a:pt x="4202" y="5523"/>
                    <a:pt x="4190" y="5523"/>
                  </a:cubicBezTo>
                  <a:cubicBezTo>
                    <a:pt x="4167" y="5523"/>
                    <a:pt x="4132" y="5523"/>
                    <a:pt x="4132" y="5494"/>
                  </a:cubicBezTo>
                  <a:cubicBezTo>
                    <a:pt x="4132" y="5477"/>
                    <a:pt x="4149" y="5471"/>
                    <a:pt x="4149" y="5453"/>
                  </a:cubicBezTo>
                  <a:cubicBezTo>
                    <a:pt x="4149" y="5436"/>
                    <a:pt x="4126" y="5424"/>
                    <a:pt x="4109" y="5424"/>
                  </a:cubicBezTo>
                  <a:cubicBezTo>
                    <a:pt x="3992" y="5424"/>
                    <a:pt x="3923" y="5442"/>
                    <a:pt x="3812" y="5482"/>
                  </a:cubicBezTo>
                  <a:cubicBezTo>
                    <a:pt x="3760" y="5506"/>
                    <a:pt x="3713" y="5482"/>
                    <a:pt x="3672" y="5517"/>
                  </a:cubicBezTo>
                  <a:cubicBezTo>
                    <a:pt x="3649" y="5541"/>
                    <a:pt x="3643" y="5570"/>
                    <a:pt x="3643" y="5605"/>
                  </a:cubicBezTo>
                  <a:close/>
                  <a:moveTo>
                    <a:pt x="0" y="3148"/>
                  </a:moveTo>
                  <a:lnTo>
                    <a:pt x="0" y="3148"/>
                  </a:lnTo>
                  <a:lnTo>
                    <a:pt x="0" y="3148"/>
                  </a:ln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ubicBezTo>
                    <a:pt x="4330" y="17"/>
                    <a:pt x="4330" y="17"/>
                    <a:pt x="4330" y="17"/>
                  </a:cubicBezTo>
                  <a:lnTo>
                    <a:pt x="4330" y="17"/>
                  </a:lnTo>
                  <a:cubicBezTo>
                    <a:pt x="5791" y="23"/>
                    <a:pt x="5791" y="23"/>
                    <a:pt x="5791" y="23"/>
                  </a:cubicBezTo>
                  <a:cubicBezTo>
                    <a:pt x="5791" y="1652"/>
                    <a:pt x="5791" y="1652"/>
                    <a:pt x="5791" y="1652"/>
                  </a:cubicBezTo>
                  <a:lnTo>
                    <a:pt x="5791" y="1652"/>
                  </a:lnTo>
                  <a:cubicBezTo>
                    <a:pt x="5780" y="4504"/>
                    <a:pt x="5780" y="4504"/>
                    <a:pt x="5780" y="4504"/>
                  </a:cubicBezTo>
                  <a:lnTo>
                    <a:pt x="5780" y="4504"/>
                  </a:lnTo>
                  <a:cubicBezTo>
                    <a:pt x="5774" y="6914"/>
                    <a:pt x="5774" y="6914"/>
                    <a:pt x="5774" y="6914"/>
                  </a:cubicBezTo>
                  <a:lnTo>
                    <a:pt x="5774" y="6914"/>
                  </a:lnTo>
                  <a:cubicBezTo>
                    <a:pt x="5756" y="6909"/>
                    <a:pt x="5739" y="6909"/>
                    <a:pt x="5716" y="6909"/>
                  </a:cubicBezTo>
                  <a:cubicBezTo>
                    <a:pt x="5686" y="6909"/>
                    <a:pt x="5669" y="6920"/>
                    <a:pt x="5634" y="6920"/>
                  </a:cubicBezTo>
                  <a:cubicBezTo>
                    <a:pt x="5593" y="6920"/>
                    <a:pt x="5582" y="6880"/>
                    <a:pt x="5553" y="6856"/>
                  </a:cubicBezTo>
                  <a:cubicBezTo>
                    <a:pt x="5477" y="6798"/>
                    <a:pt x="5454" y="6746"/>
                    <a:pt x="5413" y="6658"/>
                  </a:cubicBezTo>
                  <a:cubicBezTo>
                    <a:pt x="5401" y="6635"/>
                    <a:pt x="5384" y="6618"/>
                    <a:pt x="5366" y="6594"/>
                  </a:cubicBezTo>
                  <a:cubicBezTo>
                    <a:pt x="5355" y="6577"/>
                    <a:pt x="5355" y="6559"/>
                    <a:pt x="5337" y="6554"/>
                  </a:cubicBezTo>
                  <a:cubicBezTo>
                    <a:pt x="5314" y="6548"/>
                    <a:pt x="5297" y="6559"/>
                    <a:pt x="5279" y="6548"/>
                  </a:cubicBezTo>
                  <a:cubicBezTo>
                    <a:pt x="5232" y="6495"/>
                    <a:pt x="5250" y="6431"/>
                    <a:pt x="5192" y="6385"/>
                  </a:cubicBezTo>
                  <a:cubicBezTo>
                    <a:pt x="5197" y="6367"/>
                    <a:pt x="5215" y="6367"/>
                    <a:pt x="5215" y="6350"/>
                  </a:cubicBezTo>
                  <a:cubicBezTo>
                    <a:pt x="5215" y="6297"/>
                    <a:pt x="5192" y="6257"/>
                    <a:pt x="5139" y="6245"/>
                  </a:cubicBezTo>
                  <a:cubicBezTo>
                    <a:pt x="5203" y="6216"/>
                    <a:pt x="5250" y="6181"/>
                    <a:pt x="5250" y="6111"/>
                  </a:cubicBezTo>
                  <a:cubicBezTo>
                    <a:pt x="5250" y="6036"/>
                    <a:pt x="5250" y="6036"/>
                    <a:pt x="5250" y="6036"/>
                  </a:cubicBezTo>
                  <a:cubicBezTo>
                    <a:pt x="5250" y="5890"/>
                    <a:pt x="5168" y="5820"/>
                    <a:pt x="5110" y="5680"/>
                  </a:cubicBezTo>
                  <a:cubicBezTo>
                    <a:pt x="5081" y="5645"/>
                    <a:pt x="5046" y="5645"/>
                    <a:pt x="5017" y="5605"/>
                  </a:cubicBezTo>
                  <a:cubicBezTo>
                    <a:pt x="4976" y="5541"/>
                    <a:pt x="4935" y="5511"/>
                    <a:pt x="4895" y="5442"/>
                  </a:cubicBezTo>
                  <a:cubicBezTo>
                    <a:pt x="4889" y="5430"/>
                    <a:pt x="4866" y="5424"/>
                    <a:pt x="4866" y="5407"/>
                  </a:cubicBezTo>
                  <a:cubicBezTo>
                    <a:pt x="4866" y="5395"/>
                    <a:pt x="4866" y="5389"/>
                    <a:pt x="4871" y="5384"/>
                  </a:cubicBezTo>
                  <a:cubicBezTo>
                    <a:pt x="4889" y="5378"/>
                    <a:pt x="4901" y="5366"/>
                    <a:pt x="4924" y="5366"/>
                  </a:cubicBezTo>
                  <a:cubicBezTo>
                    <a:pt x="4941" y="5366"/>
                    <a:pt x="4959" y="5378"/>
                    <a:pt x="4959" y="5395"/>
                  </a:cubicBezTo>
                  <a:cubicBezTo>
                    <a:pt x="4959" y="5424"/>
                    <a:pt x="4930" y="5442"/>
                    <a:pt x="4930" y="5471"/>
                  </a:cubicBezTo>
                  <a:cubicBezTo>
                    <a:pt x="4930" y="5482"/>
                    <a:pt x="4947" y="5488"/>
                    <a:pt x="4953" y="5500"/>
                  </a:cubicBezTo>
                  <a:cubicBezTo>
                    <a:pt x="5011" y="5488"/>
                    <a:pt x="5005" y="5418"/>
                    <a:pt x="5005" y="5354"/>
                  </a:cubicBezTo>
                  <a:cubicBezTo>
                    <a:pt x="5005" y="5308"/>
                    <a:pt x="4976" y="5261"/>
                    <a:pt x="4930" y="5261"/>
                  </a:cubicBezTo>
                  <a:cubicBezTo>
                    <a:pt x="4883" y="5261"/>
                    <a:pt x="4866" y="5302"/>
                    <a:pt x="4825" y="5319"/>
                  </a:cubicBezTo>
                  <a:cubicBezTo>
                    <a:pt x="4802" y="5325"/>
                    <a:pt x="4784" y="5319"/>
                    <a:pt x="4761" y="5319"/>
                  </a:cubicBezTo>
                  <a:cubicBezTo>
                    <a:pt x="4720" y="5325"/>
                    <a:pt x="4714" y="5366"/>
                    <a:pt x="4674" y="5384"/>
                  </a:cubicBezTo>
                  <a:cubicBezTo>
                    <a:pt x="4609" y="5424"/>
                    <a:pt x="4569" y="5442"/>
                    <a:pt x="4493" y="5459"/>
                  </a:cubicBezTo>
                  <a:cubicBezTo>
                    <a:pt x="4412" y="5447"/>
                    <a:pt x="4412" y="5447"/>
                    <a:pt x="4412" y="5447"/>
                  </a:cubicBezTo>
                  <a:cubicBezTo>
                    <a:pt x="4406" y="5436"/>
                    <a:pt x="4406" y="5436"/>
                    <a:pt x="4406" y="5436"/>
                  </a:cubicBezTo>
                  <a:cubicBezTo>
                    <a:pt x="4423" y="5401"/>
                    <a:pt x="4464" y="5401"/>
                    <a:pt x="4481" y="5366"/>
                  </a:cubicBezTo>
                  <a:cubicBezTo>
                    <a:pt x="4534" y="5273"/>
                    <a:pt x="4557" y="5209"/>
                    <a:pt x="4592" y="5110"/>
                  </a:cubicBezTo>
                  <a:cubicBezTo>
                    <a:pt x="4609" y="5058"/>
                    <a:pt x="4633" y="5034"/>
                    <a:pt x="4633" y="4982"/>
                  </a:cubicBezTo>
                  <a:cubicBezTo>
                    <a:pt x="4633" y="4895"/>
                    <a:pt x="4551" y="4871"/>
                    <a:pt x="4505" y="4801"/>
                  </a:cubicBezTo>
                  <a:cubicBezTo>
                    <a:pt x="4470" y="4749"/>
                    <a:pt x="4470" y="4708"/>
                    <a:pt x="4452" y="4650"/>
                  </a:cubicBezTo>
                  <a:cubicBezTo>
                    <a:pt x="4441" y="4615"/>
                    <a:pt x="4417" y="4598"/>
                    <a:pt x="4412" y="4557"/>
                  </a:cubicBezTo>
                  <a:cubicBezTo>
                    <a:pt x="4377" y="4592"/>
                    <a:pt x="4371" y="4621"/>
                    <a:pt x="4342" y="4662"/>
                  </a:cubicBezTo>
                  <a:cubicBezTo>
                    <a:pt x="4295" y="4720"/>
                    <a:pt x="4278" y="4766"/>
                    <a:pt x="4272" y="4842"/>
                  </a:cubicBezTo>
                  <a:cubicBezTo>
                    <a:pt x="4272" y="4906"/>
                    <a:pt x="4249" y="4941"/>
                    <a:pt x="4237" y="4999"/>
                  </a:cubicBezTo>
                  <a:cubicBezTo>
                    <a:pt x="4237" y="5028"/>
                    <a:pt x="4225" y="5040"/>
                    <a:pt x="4225" y="5063"/>
                  </a:cubicBezTo>
                  <a:cubicBezTo>
                    <a:pt x="4219" y="5098"/>
                    <a:pt x="4214" y="5133"/>
                    <a:pt x="4179" y="5133"/>
                  </a:cubicBezTo>
                  <a:cubicBezTo>
                    <a:pt x="4144" y="5133"/>
                    <a:pt x="4126" y="5116"/>
                    <a:pt x="4091" y="5116"/>
                  </a:cubicBezTo>
                  <a:cubicBezTo>
                    <a:pt x="3969" y="5116"/>
                    <a:pt x="3923" y="5232"/>
                    <a:pt x="3800" y="5232"/>
                  </a:cubicBezTo>
                  <a:cubicBezTo>
                    <a:pt x="3783" y="5232"/>
                    <a:pt x="3783" y="5232"/>
                    <a:pt x="3783" y="5232"/>
                  </a:cubicBezTo>
                  <a:cubicBezTo>
                    <a:pt x="3783" y="5209"/>
                    <a:pt x="3783" y="5209"/>
                    <a:pt x="3783" y="5209"/>
                  </a:cubicBezTo>
                  <a:cubicBezTo>
                    <a:pt x="3783" y="5174"/>
                    <a:pt x="3806" y="5156"/>
                    <a:pt x="3818" y="5127"/>
                  </a:cubicBezTo>
                  <a:cubicBezTo>
                    <a:pt x="3835" y="5087"/>
                    <a:pt x="3823" y="5046"/>
                    <a:pt x="3864" y="5028"/>
                  </a:cubicBezTo>
                  <a:cubicBezTo>
                    <a:pt x="3888" y="5017"/>
                    <a:pt x="3911" y="5017"/>
                    <a:pt x="3940" y="5017"/>
                  </a:cubicBezTo>
                  <a:cubicBezTo>
                    <a:pt x="4010" y="5017"/>
                    <a:pt x="4010" y="5017"/>
                    <a:pt x="4010" y="5017"/>
                  </a:cubicBezTo>
                  <a:cubicBezTo>
                    <a:pt x="4086" y="5017"/>
                    <a:pt x="4097" y="4924"/>
                    <a:pt x="4097" y="4848"/>
                  </a:cubicBezTo>
                  <a:cubicBezTo>
                    <a:pt x="4097" y="4801"/>
                    <a:pt x="4086" y="4772"/>
                    <a:pt x="4074" y="4726"/>
                  </a:cubicBezTo>
                  <a:cubicBezTo>
                    <a:pt x="4103" y="4609"/>
                    <a:pt x="4103" y="4609"/>
                    <a:pt x="4103" y="4609"/>
                  </a:cubicBezTo>
                  <a:cubicBezTo>
                    <a:pt x="4103" y="4598"/>
                    <a:pt x="4091" y="4586"/>
                    <a:pt x="4091" y="4574"/>
                  </a:cubicBezTo>
                  <a:cubicBezTo>
                    <a:pt x="4091" y="4533"/>
                    <a:pt x="4132" y="4528"/>
                    <a:pt x="4132" y="4487"/>
                  </a:cubicBezTo>
                  <a:cubicBezTo>
                    <a:pt x="4132" y="4481"/>
                    <a:pt x="4120" y="4481"/>
                    <a:pt x="4120" y="4469"/>
                  </a:cubicBezTo>
                  <a:cubicBezTo>
                    <a:pt x="4120" y="4440"/>
                    <a:pt x="4167" y="4435"/>
                    <a:pt x="4167" y="4406"/>
                  </a:cubicBezTo>
                  <a:cubicBezTo>
                    <a:pt x="4167" y="4394"/>
                    <a:pt x="4155" y="4394"/>
                    <a:pt x="4144" y="4388"/>
                  </a:cubicBezTo>
                  <a:cubicBezTo>
                    <a:pt x="4167" y="4353"/>
                    <a:pt x="4196" y="4341"/>
                    <a:pt x="4231" y="4312"/>
                  </a:cubicBezTo>
                  <a:cubicBezTo>
                    <a:pt x="4254" y="4295"/>
                    <a:pt x="4254" y="4266"/>
                    <a:pt x="4278" y="4254"/>
                  </a:cubicBezTo>
                  <a:cubicBezTo>
                    <a:pt x="4295" y="4248"/>
                    <a:pt x="4318" y="4237"/>
                    <a:pt x="4318" y="4219"/>
                  </a:cubicBezTo>
                  <a:cubicBezTo>
                    <a:pt x="4318" y="4155"/>
                    <a:pt x="4260" y="4126"/>
                    <a:pt x="4260" y="4062"/>
                  </a:cubicBezTo>
                  <a:cubicBezTo>
                    <a:pt x="4260" y="4044"/>
                    <a:pt x="4266" y="4044"/>
                    <a:pt x="4266" y="4027"/>
                  </a:cubicBezTo>
                  <a:cubicBezTo>
                    <a:pt x="4266" y="4021"/>
                    <a:pt x="4260" y="4021"/>
                    <a:pt x="4260" y="4015"/>
                  </a:cubicBezTo>
                  <a:cubicBezTo>
                    <a:pt x="4260" y="4010"/>
                    <a:pt x="4260" y="4010"/>
                    <a:pt x="4266" y="4004"/>
                  </a:cubicBezTo>
                  <a:cubicBezTo>
                    <a:pt x="4289" y="4004"/>
                    <a:pt x="4301" y="3980"/>
                    <a:pt x="4330" y="3980"/>
                  </a:cubicBezTo>
                  <a:cubicBezTo>
                    <a:pt x="4336" y="3980"/>
                    <a:pt x="4342" y="3992"/>
                    <a:pt x="4348" y="3992"/>
                  </a:cubicBezTo>
                  <a:cubicBezTo>
                    <a:pt x="4353" y="3992"/>
                    <a:pt x="4359" y="3986"/>
                    <a:pt x="4359" y="3986"/>
                  </a:cubicBezTo>
                  <a:cubicBezTo>
                    <a:pt x="4359" y="3963"/>
                    <a:pt x="4359" y="3963"/>
                    <a:pt x="4359" y="3963"/>
                  </a:cubicBezTo>
                  <a:cubicBezTo>
                    <a:pt x="4359" y="3928"/>
                    <a:pt x="4324" y="3917"/>
                    <a:pt x="4313" y="3881"/>
                  </a:cubicBezTo>
                  <a:cubicBezTo>
                    <a:pt x="4272" y="3777"/>
                    <a:pt x="4301" y="3689"/>
                    <a:pt x="4225" y="3608"/>
                  </a:cubicBezTo>
                  <a:cubicBezTo>
                    <a:pt x="4219" y="3643"/>
                    <a:pt x="4214" y="3666"/>
                    <a:pt x="4214" y="3701"/>
                  </a:cubicBezTo>
                  <a:cubicBezTo>
                    <a:pt x="4214" y="3736"/>
                    <a:pt x="4225" y="3754"/>
                    <a:pt x="4225" y="3783"/>
                  </a:cubicBezTo>
                  <a:cubicBezTo>
                    <a:pt x="4225" y="3817"/>
                    <a:pt x="4231" y="3852"/>
                    <a:pt x="4202" y="3870"/>
                  </a:cubicBezTo>
                  <a:cubicBezTo>
                    <a:pt x="4185" y="3887"/>
                    <a:pt x="4161" y="3870"/>
                    <a:pt x="4138" y="3876"/>
                  </a:cubicBezTo>
                  <a:cubicBezTo>
                    <a:pt x="4115" y="3893"/>
                    <a:pt x="4126" y="3928"/>
                    <a:pt x="4103" y="3946"/>
                  </a:cubicBezTo>
                  <a:cubicBezTo>
                    <a:pt x="4091" y="3951"/>
                    <a:pt x="4074" y="3946"/>
                    <a:pt x="4062" y="3957"/>
                  </a:cubicBezTo>
                  <a:cubicBezTo>
                    <a:pt x="4051" y="3975"/>
                    <a:pt x="4056" y="3992"/>
                    <a:pt x="4056" y="4015"/>
                  </a:cubicBezTo>
                  <a:cubicBezTo>
                    <a:pt x="4051" y="4027"/>
                    <a:pt x="4039" y="4039"/>
                    <a:pt x="4033" y="4050"/>
                  </a:cubicBezTo>
                  <a:cubicBezTo>
                    <a:pt x="4027" y="4085"/>
                    <a:pt x="4045" y="4103"/>
                    <a:pt x="4033" y="4132"/>
                  </a:cubicBezTo>
                  <a:cubicBezTo>
                    <a:pt x="4016" y="4155"/>
                    <a:pt x="3998" y="4161"/>
                    <a:pt x="3992" y="4184"/>
                  </a:cubicBezTo>
                  <a:cubicBezTo>
                    <a:pt x="3969" y="4243"/>
                    <a:pt x="3957" y="4306"/>
                    <a:pt x="3893" y="4306"/>
                  </a:cubicBezTo>
                  <a:cubicBezTo>
                    <a:pt x="3864" y="4306"/>
                    <a:pt x="3847" y="4301"/>
                    <a:pt x="3812" y="4301"/>
                  </a:cubicBezTo>
                  <a:cubicBezTo>
                    <a:pt x="3794" y="4301"/>
                    <a:pt x="3794" y="4318"/>
                    <a:pt x="3783" y="4336"/>
                  </a:cubicBezTo>
                  <a:cubicBezTo>
                    <a:pt x="3771" y="4353"/>
                    <a:pt x="3754" y="4365"/>
                    <a:pt x="3736" y="4382"/>
                  </a:cubicBezTo>
                  <a:cubicBezTo>
                    <a:pt x="3713" y="4400"/>
                    <a:pt x="3696" y="4394"/>
                    <a:pt x="3666" y="4406"/>
                  </a:cubicBezTo>
                  <a:cubicBezTo>
                    <a:pt x="3626" y="4423"/>
                    <a:pt x="3614" y="4452"/>
                    <a:pt x="3573" y="4481"/>
                  </a:cubicBezTo>
                  <a:cubicBezTo>
                    <a:pt x="3527" y="4522"/>
                    <a:pt x="3527" y="4569"/>
                    <a:pt x="3492" y="4627"/>
                  </a:cubicBezTo>
                  <a:cubicBezTo>
                    <a:pt x="3474" y="4667"/>
                    <a:pt x="3416" y="4667"/>
                    <a:pt x="3416" y="4714"/>
                  </a:cubicBezTo>
                  <a:cubicBezTo>
                    <a:pt x="3416" y="4726"/>
                    <a:pt x="3422" y="4732"/>
                    <a:pt x="3422" y="4743"/>
                  </a:cubicBezTo>
                  <a:cubicBezTo>
                    <a:pt x="3422" y="4778"/>
                    <a:pt x="3381" y="4772"/>
                    <a:pt x="3358" y="4790"/>
                  </a:cubicBezTo>
                  <a:cubicBezTo>
                    <a:pt x="3317" y="4813"/>
                    <a:pt x="3300" y="4848"/>
                    <a:pt x="3300" y="4889"/>
                  </a:cubicBezTo>
                  <a:cubicBezTo>
                    <a:pt x="3300" y="4895"/>
                    <a:pt x="3305" y="4895"/>
                    <a:pt x="3305" y="4900"/>
                  </a:cubicBezTo>
                  <a:cubicBezTo>
                    <a:pt x="3305" y="4918"/>
                    <a:pt x="3282" y="4924"/>
                    <a:pt x="3282" y="4941"/>
                  </a:cubicBezTo>
                  <a:cubicBezTo>
                    <a:pt x="3282" y="4953"/>
                    <a:pt x="3288" y="4953"/>
                    <a:pt x="3288" y="4964"/>
                  </a:cubicBezTo>
                  <a:cubicBezTo>
                    <a:pt x="3311" y="4958"/>
                    <a:pt x="3329" y="4958"/>
                    <a:pt x="3346" y="4941"/>
                  </a:cubicBezTo>
                  <a:cubicBezTo>
                    <a:pt x="3340" y="4976"/>
                    <a:pt x="3334" y="4999"/>
                    <a:pt x="3334" y="5028"/>
                  </a:cubicBezTo>
                  <a:cubicBezTo>
                    <a:pt x="3294" y="4999"/>
                    <a:pt x="3271" y="4970"/>
                    <a:pt x="3218" y="4970"/>
                  </a:cubicBezTo>
                  <a:cubicBezTo>
                    <a:pt x="3201" y="4970"/>
                    <a:pt x="3201" y="5005"/>
                    <a:pt x="3195" y="5028"/>
                  </a:cubicBezTo>
                  <a:cubicBezTo>
                    <a:pt x="3189" y="5022"/>
                    <a:pt x="3189" y="5022"/>
                    <a:pt x="3189" y="5022"/>
                  </a:cubicBezTo>
                  <a:cubicBezTo>
                    <a:pt x="3166" y="4976"/>
                    <a:pt x="3166" y="4941"/>
                    <a:pt x="3131" y="4906"/>
                  </a:cubicBezTo>
                  <a:cubicBezTo>
                    <a:pt x="2985" y="4761"/>
                    <a:pt x="3049" y="4854"/>
                    <a:pt x="3108" y="4854"/>
                  </a:cubicBezTo>
                  <a:cubicBezTo>
                    <a:pt x="3119" y="4854"/>
                    <a:pt x="3119" y="4854"/>
                    <a:pt x="3119" y="4854"/>
                  </a:cubicBezTo>
                  <a:cubicBezTo>
                    <a:pt x="3119" y="4825"/>
                    <a:pt x="3119" y="4825"/>
                    <a:pt x="3119" y="4825"/>
                  </a:cubicBezTo>
                  <a:cubicBezTo>
                    <a:pt x="3073" y="4702"/>
                    <a:pt x="3073" y="4702"/>
                    <a:pt x="3073" y="4702"/>
                  </a:cubicBezTo>
                  <a:cubicBezTo>
                    <a:pt x="3073" y="4667"/>
                    <a:pt x="3078" y="4644"/>
                    <a:pt x="3061" y="4615"/>
                  </a:cubicBezTo>
                  <a:cubicBezTo>
                    <a:pt x="3049" y="4592"/>
                    <a:pt x="3026" y="4586"/>
                    <a:pt x="3026" y="4557"/>
                  </a:cubicBezTo>
                  <a:cubicBezTo>
                    <a:pt x="3026" y="4551"/>
                    <a:pt x="3032" y="4545"/>
                    <a:pt x="3032" y="4533"/>
                  </a:cubicBezTo>
                  <a:cubicBezTo>
                    <a:pt x="3032" y="4504"/>
                    <a:pt x="3014" y="4493"/>
                    <a:pt x="3008" y="4464"/>
                  </a:cubicBezTo>
                  <a:cubicBezTo>
                    <a:pt x="2997" y="4435"/>
                    <a:pt x="2997" y="4406"/>
                    <a:pt x="2968" y="4388"/>
                  </a:cubicBezTo>
                  <a:cubicBezTo>
                    <a:pt x="2933" y="4370"/>
                    <a:pt x="2910" y="4359"/>
                    <a:pt x="2892" y="4324"/>
                  </a:cubicBezTo>
                  <a:cubicBezTo>
                    <a:pt x="2869" y="4289"/>
                    <a:pt x="2845" y="4277"/>
                    <a:pt x="2834" y="4243"/>
                  </a:cubicBezTo>
                  <a:cubicBezTo>
                    <a:pt x="2811" y="4178"/>
                    <a:pt x="2828" y="4138"/>
                    <a:pt x="2805" y="4080"/>
                  </a:cubicBezTo>
                  <a:cubicBezTo>
                    <a:pt x="2793" y="4050"/>
                    <a:pt x="2752" y="4050"/>
                    <a:pt x="2752" y="4021"/>
                  </a:cubicBezTo>
                  <a:cubicBezTo>
                    <a:pt x="2752" y="4015"/>
                    <a:pt x="2758" y="4010"/>
                    <a:pt x="2758" y="4004"/>
                  </a:cubicBezTo>
                  <a:cubicBezTo>
                    <a:pt x="2758" y="3951"/>
                    <a:pt x="2671" y="3980"/>
                    <a:pt x="2619" y="3969"/>
                  </a:cubicBezTo>
                  <a:cubicBezTo>
                    <a:pt x="2560" y="3963"/>
                    <a:pt x="2549" y="3893"/>
                    <a:pt x="2496" y="3893"/>
                  </a:cubicBezTo>
                  <a:cubicBezTo>
                    <a:pt x="2496" y="3870"/>
                    <a:pt x="2496" y="3870"/>
                    <a:pt x="2496" y="3870"/>
                  </a:cubicBezTo>
                  <a:cubicBezTo>
                    <a:pt x="2496" y="3864"/>
                    <a:pt x="2502" y="3858"/>
                    <a:pt x="2502" y="3847"/>
                  </a:cubicBezTo>
                  <a:cubicBezTo>
                    <a:pt x="2502" y="3823"/>
                    <a:pt x="2473" y="3829"/>
                    <a:pt x="2450" y="3817"/>
                  </a:cubicBezTo>
                  <a:cubicBezTo>
                    <a:pt x="2479" y="3800"/>
                    <a:pt x="2473" y="3777"/>
                    <a:pt x="2490" y="3748"/>
                  </a:cubicBezTo>
                  <a:cubicBezTo>
                    <a:pt x="2508" y="3754"/>
                    <a:pt x="2508" y="3765"/>
                    <a:pt x="2514" y="3783"/>
                  </a:cubicBezTo>
                  <a:cubicBezTo>
                    <a:pt x="2531" y="3754"/>
                    <a:pt x="2554" y="3742"/>
                    <a:pt x="2554" y="3707"/>
                  </a:cubicBezTo>
                  <a:cubicBezTo>
                    <a:pt x="2554" y="3643"/>
                    <a:pt x="2537" y="3573"/>
                    <a:pt x="2473" y="3573"/>
                  </a:cubicBezTo>
                  <a:cubicBezTo>
                    <a:pt x="2415" y="3573"/>
                    <a:pt x="2397" y="3614"/>
                    <a:pt x="2345" y="3625"/>
                  </a:cubicBezTo>
                  <a:cubicBezTo>
                    <a:pt x="2339" y="3620"/>
                    <a:pt x="2333" y="3620"/>
                    <a:pt x="2333" y="3614"/>
                  </a:cubicBezTo>
                  <a:cubicBezTo>
                    <a:pt x="2333" y="3602"/>
                    <a:pt x="2351" y="3596"/>
                    <a:pt x="2351" y="3585"/>
                  </a:cubicBezTo>
                  <a:cubicBezTo>
                    <a:pt x="2351" y="3573"/>
                    <a:pt x="2345" y="3573"/>
                    <a:pt x="2345" y="3561"/>
                  </a:cubicBezTo>
                  <a:cubicBezTo>
                    <a:pt x="2356" y="3567"/>
                    <a:pt x="2362" y="3573"/>
                    <a:pt x="2374" y="3579"/>
                  </a:cubicBezTo>
                  <a:cubicBezTo>
                    <a:pt x="2385" y="3573"/>
                    <a:pt x="2385" y="3573"/>
                    <a:pt x="2385" y="3573"/>
                  </a:cubicBezTo>
                  <a:cubicBezTo>
                    <a:pt x="2368" y="3503"/>
                    <a:pt x="2310" y="3486"/>
                    <a:pt x="2269" y="3428"/>
                  </a:cubicBezTo>
                  <a:cubicBezTo>
                    <a:pt x="2252" y="3404"/>
                    <a:pt x="2246" y="3369"/>
                    <a:pt x="2217" y="3369"/>
                  </a:cubicBezTo>
                  <a:cubicBezTo>
                    <a:pt x="2199" y="3369"/>
                    <a:pt x="2199" y="3398"/>
                    <a:pt x="2182" y="3398"/>
                  </a:cubicBezTo>
                  <a:cubicBezTo>
                    <a:pt x="2170" y="3398"/>
                    <a:pt x="2164" y="3392"/>
                    <a:pt x="2153" y="3381"/>
                  </a:cubicBezTo>
                  <a:cubicBezTo>
                    <a:pt x="2124" y="3398"/>
                    <a:pt x="2112" y="3433"/>
                    <a:pt x="2077" y="3433"/>
                  </a:cubicBezTo>
                  <a:cubicBezTo>
                    <a:pt x="2026" y="3433"/>
                    <a:pt x="2002" y="3404"/>
                    <a:pt x="1956" y="3375"/>
                  </a:cubicBezTo>
                  <a:cubicBezTo>
                    <a:pt x="1938" y="3363"/>
                    <a:pt x="1921" y="3369"/>
                    <a:pt x="1903" y="3358"/>
                  </a:cubicBezTo>
                  <a:cubicBezTo>
                    <a:pt x="1828" y="3311"/>
                    <a:pt x="1781" y="3270"/>
                    <a:pt x="1694" y="3270"/>
                  </a:cubicBezTo>
                  <a:cubicBezTo>
                    <a:pt x="1665" y="3270"/>
                    <a:pt x="1653" y="3299"/>
                    <a:pt x="1630" y="3317"/>
                  </a:cubicBezTo>
                  <a:cubicBezTo>
                    <a:pt x="1595" y="3328"/>
                    <a:pt x="1566" y="3328"/>
                    <a:pt x="1531" y="3334"/>
                  </a:cubicBezTo>
                  <a:cubicBezTo>
                    <a:pt x="1525" y="3247"/>
                    <a:pt x="1432" y="3241"/>
                    <a:pt x="1368" y="3177"/>
                  </a:cubicBezTo>
                  <a:cubicBezTo>
                    <a:pt x="1304" y="3131"/>
                    <a:pt x="1257" y="3113"/>
                    <a:pt x="1187" y="3072"/>
                  </a:cubicBezTo>
                  <a:cubicBezTo>
                    <a:pt x="1135" y="3043"/>
                    <a:pt x="1112" y="3008"/>
                    <a:pt x="1053" y="3008"/>
                  </a:cubicBezTo>
                  <a:cubicBezTo>
                    <a:pt x="1019" y="3008"/>
                    <a:pt x="1001" y="3037"/>
                    <a:pt x="972" y="3055"/>
                  </a:cubicBezTo>
                  <a:cubicBezTo>
                    <a:pt x="925" y="3078"/>
                    <a:pt x="890" y="3090"/>
                    <a:pt x="832" y="3090"/>
                  </a:cubicBezTo>
                  <a:cubicBezTo>
                    <a:pt x="780" y="3090"/>
                    <a:pt x="751" y="3084"/>
                    <a:pt x="693" y="3084"/>
                  </a:cubicBezTo>
                  <a:cubicBezTo>
                    <a:pt x="646" y="3084"/>
                    <a:pt x="623" y="3090"/>
                    <a:pt x="576" y="3090"/>
                  </a:cubicBezTo>
                  <a:cubicBezTo>
                    <a:pt x="361" y="3090"/>
                    <a:pt x="361" y="3090"/>
                    <a:pt x="361" y="3090"/>
                  </a:cubicBezTo>
                  <a:cubicBezTo>
                    <a:pt x="64" y="3148"/>
                    <a:pt x="64" y="3148"/>
                    <a:pt x="64" y="3148"/>
                  </a:cubicBezTo>
                  <a:cubicBezTo>
                    <a:pt x="5" y="3148"/>
                    <a:pt x="5" y="3148"/>
                    <a:pt x="5" y="3148"/>
                  </a:cubicBezTo>
                  <a:lnTo>
                    <a:pt x="0" y="314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" name="Freeform 11"/>
            <p:cNvSpPr>
              <a:spLocks noChangeArrowheads="1"/>
            </p:cNvSpPr>
            <p:nvPr/>
          </p:nvSpPr>
          <p:spPr bwMode="auto">
            <a:xfrm>
              <a:off x="18843390" y="8789140"/>
              <a:ext cx="1905191" cy="1352346"/>
            </a:xfrm>
            <a:custGeom>
              <a:avLst/>
              <a:gdLst>
                <a:gd name="T0" fmla="*/ 2026 w 4332"/>
                <a:gd name="T1" fmla="*/ 2683 h 3074"/>
                <a:gd name="T2" fmla="*/ 0 w 4332"/>
                <a:gd name="T3" fmla="*/ 2415 h 3074"/>
                <a:gd name="T4" fmla="*/ 6 w 4332"/>
                <a:gd name="T5" fmla="*/ 5 h 3074"/>
                <a:gd name="T6" fmla="*/ 145 w 4332"/>
                <a:gd name="T7" fmla="*/ 34 h 3074"/>
                <a:gd name="T8" fmla="*/ 442 w 4332"/>
                <a:gd name="T9" fmla="*/ 58 h 3074"/>
                <a:gd name="T10" fmla="*/ 623 w 4332"/>
                <a:gd name="T11" fmla="*/ 168 h 3074"/>
                <a:gd name="T12" fmla="*/ 716 w 4332"/>
                <a:gd name="T13" fmla="*/ 331 h 3074"/>
                <a:gd name="T14" fmla="*/ 879 w 4332"/>
                <a:gd name="T15" fmla="*/ 296 h 3074"/>
                <a:gd name="T16" fmla="*/ 1129 w 4332"/>
                <a:gd name="T17" fmla="*/ 518 h 3074"/>
                <a:gd name="T18" fmla="*/ 1257 w 4332"/>
                <a:gd name="T19" fmla="*/ 768 h 3074"/>
                <a:gd name="T20" fmla="*/ 1560 w 4332"/>
                <a:gd name="T21" fmla="*/ 983 h 3074"/>
                <a:gd name="T22" fmla="*/ 1845 w 4332"/>
                <a:gd name="T23" fmla="*/ 1240 h 3074"/>
                <a:gd name="T24" fmla="*/ 1915 w 4332"/>
                <a:gd name="T25" fmla="*/ 1164 h 3074"/>
                <a:gd name="T26" fmla="*/ 2171 w 4332"/>
                <a:gd name="T27" fmla="*/ 1071 h 3074"/>
                <a:gd name="T28" fmla="*/ 2427 w 4332"/>
                <a:gd name="T29" fmla="*/ 1170 h 3074"/>
                <a:gd name="T30" fmla="*/ 2596 w 4332"/>
                <a:gd name="T31" fmla="*/ 1193 h 3074"/>
                <a:gd name="T32" fmla="*/ 2637 w 4332"/>
                <a:gd name="T33" fmla="*/ 1158 h 3074"/>
                <a:gd name="T34" fmla="*/ 2753 w 4332"/>
                <a:gd name="T35" fmla="*/ 1193 h 3074"/>
                <a:gd name="T36" fmla="*/ 3184 w 4332"/>
                <a:gd name="T37" fmla="*/ 1135 h 3074"/>
                <a:gd name="T38" fmla="*/ 3405 w 4332"/>
                <a:gd name="T39" fmla="*/ 1385 h 3074"/>
                <a:gd name="T40" fmla="*/ 3522 w 4332"/>
                <a:gd name="T41" fmla="*/ 1664 h 3074"/>
                <a:gd name="T42" fmla="*/ 4331 w 4332"/>
                <a:gd name="T43" fmla="*/ 2072 h 3074"/>
                <a:gd name="T44" fmla="*/ 4226 w 4332"/>
                <a:gd name="T45" fmla="*/ 2066 h 3074"/>
                <a:gd name="T46" fmla="*/ 4063 w 4332"/>
                <a:gd name="T47" fmla="*/ 2223 h 3074"/>
                <a:gd name="T48" fmla="*/ 3894 w 4332"/>
                <a:gd name="T49" fmla="*/ 2235 h 3074"/>
                <a:gd name="T50" fmla="*/ 3621 w 4332"/>
                <a:gd name="T51" fmla="*/ 2235 h 3074"/>
                <a:gd name="T52" fmla="*/ 3446 w 4332"/>
                <a:gd name="T53" fmla="*/ 2247 h 3074"/>
                <a:gd name="T54" fmla="*/ 3208 w 4332"/>
                <a:gd name="T55" fmla="*/ 2276 h 3074"/>
                <a:gd name="T56" fmla="*/ 3126 w 4332"/>
                <a:gd name="T57" fmla="*/ 2421 h 3074"/>
                <a:gd name="T58" fmla="*/ 3068 w 4332"/>
                <a:gd name="T59" fmla="*/ 2555 h 3074"/>
                <a:gd name="T60" fmla="*/ 2719 w 4332"/>
                <a:gd name="T61" fmla="*/ 2759 h 3074"/>
                <a:gd name="T62" fmla="*/ 2556 w 4332"/>
                <a:gd name="T63" fmla="*/ 2881 h 3074"/>
                <a:gd name="T64" fmla="*/ 2643 w 4332"/>
                <a:gd name="T65" fmla="*/ 2916 h 3074"/>
                <a:gd name="T66" fmla="*/ 2532 w 4332"/>
                <a:gd name="T67" fmla="*/ 2887 h 3074"/>
                <a:gd name="T68" fmla="*/ 2369 w 4332"/>
                <a:gd name="T69" fmla="*/ 2846 h 3074"/>
                <a:gd name="T70" fmla="*/ 2340 w 4332"/>
                <a:gd name="T71" fmla="*/ 2753 h 3074"/>
                <a:gd name="T72" fmla="*/ 2189 w 4332"/>
                <a:gd name="T73" fmla="*/ 2730 h 3074"/>
                <a:gd name="T74" fmla="*/ 2142 w 4332"/>
                <a:gd name="T75" fmla="*/ 2613 h 3074"/>
                <a:gd name="T76" fmla="*/ 2043 w 4332"/>
                <a:gd name="T77" fmla="*/ 2613 h 3074"/>
                <a:gd name="T78" fmla="*/ 1851 w 4332"/>
                <a:gd name="T79" fmla="*/ 2613 h 3074"/>
                <a:gd name="T80" fmla="*/ 1944 w 4332"/>
                <a:gd name="T81" fmla="*/ 2334 h 3074"/>
                <a:gd name="T82" fmla="*/ 1746 w 4332"/>
                <a:gd name="T83" fmla="*/ 2381 h 3074"/>
                <a:gd name="T84" fmla="*/ 1705 w 4332"/>
                <a:gd name="T85" fmla="*/ 2491 h 3074"/>
                <a:gd name="T86" fmla="*/ 1711 w 4332"/>
                <a:gd name="T87" fmla="*/ 2538 h 3074"/>
                <a:gd name="T88" fmla="*/ 1304 w 4332"/>
                <a:gd name="T89" fmla="*/ 2817 h 3074"/>
                <a:gd name="T90" fmla="*/ 1106 w 4332"/>
                <a:gd name="T91" fmla="*/ 2841 h 3074"/>
                <a:gd name="T92" fmla="*/ 681 w 4332"/>
                <a:gd name="T93" fmla="*/ 2596 h 3074"/>
                <a:gd name="T94" fmla="*/ 401 w 4332"/>
                <a:gd name="T95" fmla="*/ 2532 h 3074"/>
                <a:gd name="T96" fmla="*/ 308 w 4332"/>
                <a:gd name="T97" fmla="*/ 2602 h 3074"/>
                <a:gd name="T98" fmla="*/ 169 w 4332"/>
                <a:gd name="T99" fmla="*/ 2515 h 3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32" h="3074">
                  <a:moveTo>
                    <a:pt x="2072" y="2642"/>
                  </a:moveTo>
                  <a:lnTo>
                    <a:pt x="2072" y="2642"/>
                  </a:lnTo>
                  <a:cubicBezTo>
                    <a:pt x="2049" y="2648"/>
                    <a:pt x="2037" y="2666"/>
                    <a:pt x="2026" y="2683"/>
                  </a:cubicBezTo>
                  <a:cubicBezTo>
                    <a:pt x="2043" y="2683"/>
                    <a:pt x="2055" y="2683"/>
                    <a:pt x="2078" y="2683"/>
                  </a:cubicBezTo>
                  <a:cubicBezTo>
                    <a:pt x="2078" y="2672"/>
                    <a:pt x="2072" y="2660"/>
                    <a:pt x="2072" y="2642"/>
                  </a:cubicBezTo>
                  <a:close/>
                  <a:moveTo>
                    <a:pt x="0" y="2415"/>
                  </a:moveTo>
                  <a:lnTo>
                    <a:pt x="0" y="2415"/>
                  </a:lnTo>
                  <a:lnTo>
                    <a:pt x="0" y="2415"/>
                  </a:lnTo>
                  <a:cubicBezTo>
                    <a:pt x="6" y="5"/>
                    <a:pt x="6" y="5"/>
                    <a:pt x="6" y="5"/>
                  </a:cubicBezTo>
                  <a:lnTo>
                    <a:pt x="6" y="5"/>
                  </a:lnTo>
                  <a:cubicBezTo>
                    <a:pt x="29" y="0"/>
                    <a:pt x="29" y="0"/>
                    <a:pt x="29" y="0"/>
                  </a:cubicBezTo>
                  <a:cubicBezTo>
                    <a:pt x="70" y="23"/>
                    <a:pt x="99" y="17"/>
                    <a:pt x="145" y="34"/>
                  </a:cubicBezTo>
                  <a:cubicBezTo>
                    <a:pt x="204" y="58"/>
                    <a:pt x="221" y="104"/>
                    <a:pt x="285" y="104"/>
                  </a:cubicBezTo>
                  <a:cubicBezTo>
                    <a:pt x="320" y="104"/>
                    <a:pt x="314" y="40"/>
                    <a:pt x="349" y="40"/>
                  </a:cubicBezTo>
                  <a:cubicBezTo>
                    <a:pt x="384" y="40"/>
                    <a:pt x="407" y="58"/>
                    <a:pt x="442" y="58"/>
                  </a:cubicBezTo>
                  <a:cubicBezTo>
                    <a:pt x="466" y="58"/>
                    <a:pt x="477" y="52"/>
                    <a:pt x="501" y="52"/>
                  </a:cubicBezTo>
                  <a:cubicBezTo>
                    <a:pt x="547" y="52"/>
                    <a:pt x="570" y="93"/>
                    <a:pt x="599" y="133"/>
                  </a:cubicBezTo>
                  <a:cubicBezTo>
                    <a:pt x="605" y="145"/>
                    <a:pt x="611" y="157"/>
                    <a:pt x="623" y="168"/>
                  </a:cubicBezTo>
                  <a:cubicBezTo>
                    <a:pt x="646" y="186"/>
                    <a:pt x="693" y="168"/>
                    <a:pt x="693" y="197"/>
                  </a:cubicBezTo>
                  <a:cubicBezTo>
                    <a:pt x="693" y="221"/>
                    <a:pt x="681" y="238"/>
                    <a:pt x="681" y="267"/>
                  </a:cubicBezTo>
                  <a:cubicBezTo>
                    <a:pt x="681" y="296"/>
                    <a:pt x="704" y="308"/>
                    <a:pt x="716" y="331"/>
                  </a:cubicBezTo>
                  <a:cubicBezTo>
                    <a:pt x="739" y="384"/>
                    <a:pt x="745" y="442"/>
                    <a:pt x="797" y="442"/>
                  </a:cubicBezTo>
                  <a:cubicBezTo>
                    <a:pt x="832" y="442"/>
                    <a:pt x="838" y="396"/>
                    <a:pt x="838" y="360"/>
                  </a:cubicBezTo>
                  <a:cubicBezTo>
                    <a:pt x="844" y="331"/>
                    <a:pt x="873" y="326"/>
                    <a:pt x="879" y="296"/>
                  </a:cubicBezTo>
                  <a:cubicBezTo>
                    <a:pt x="902" y="366"/>
                    <a:pt x="972" y="372"/>
                    <a:pt x="1036" y="390"/>
                  </a:cubicBezTo>
                  <a:cubicBezTo>
                    <a:pt x="1088" y="401"/>
                    <a:pt x="1106" y="430"/>
                    <a:pt x="1153" y="448"/>
                  </a:cubicBezTo>
                  <a:cubicBezTo>
                    <a:pt x="1147" y="477"/>
                    <a:pt x="1129" y="489"/>
                    <a:pt x="1129" y="518"/>
                  </a:cubicBezTo>
                  <a:cubicBezTo>
                    <a:pt x="1129" y="576"/>
                    <a:pt x="1129" y="622"/>
                    <a:pt x="1170" y="663"/>
                  </a:cubicBezTo>
                  <a:cubicBezTo>
                    <a:pt x="1199" y="692"/>
                    <a:pt x="1257" y="686"/>
                    <a:pt x="1257" y="727"/>
                  </a:cubicBezTo>
                  <a:cubicBezTo>
                    <a:pt x="1257" y="768"/>
                    <a:pt x="1257" y="768"/>
                    <a:pt x="1257" y="768"/>
                  </a:cubicBezTo>
                  <a:cubicBezTo>
                    <a:pt x="1257" y="797"/>
                    <a:pt x="1298" y="791"/>
                    <a:pt x="1321" y="797"/>
                  </a:cubicBezTo>
                  <a:cubicBezTo>
                    <a:pt x="1362" y="809"/>
                    <a:pt x="1379" y="838"/>
                    <a:pt x="1414" y="861"/>
                  </a:cubicBezTo>
                  <a:cubicBezTo>
                    <a:pt x="1479" y="902"/>
                    <a:pt x="1525" y="919"/>
                    <a:pt x="1560" y="983"/>
                  </a:cubicBezTo>
                  <a:cubicBezTo>
                    <a:pt x="1572" y="1007"/>
                    <a:pt x="1595" y="1007"/>
                    <a:pt x="1612" y="1024"/>
                  </a:cubicBezTo>
                  <a:cubicBezTo>
                    <a:pt x="1647" y="1082"/>
                    <a:pt x="1665" y="1123"/>
                    <a:pt x="1723" y="1164"/>
                  </a:cubicBezTo>
                  <a:cubicBezTo>
                    <a:pt x="1764" y="1199"/>
                    <a:pt x="1787" y="1240"/>
                    <a:pt x="1845" y="1240"/>
                  </a:cubicBezTo>
                  <a:cubicBezTo>
                    <a:pt x="1857" y="1240"/>
                    <a:pt x="1857" y="1228"/>
                    <a:pt x="1868" y="1222"/>
                  </a:cubicBezTo>
                  <a:cubicBezTo>
                    <a:pt x="1892" y="1216"/>
                    <a:pt x="1909" y="1222"/>
                    <a:pt x="1933" y="1216"/>
                  </a:cubicBezTo>
                  <a:cubicBezTo>
                    <a:pt x="1927" y="1193"/>
                    <a:pt x="1915" y="1187"/>
                    <a:pt x="1915" y="1164"/>
                  </a:cubicBezTo>
                  <a:cubicBezTo>
                    <a:pt x="1915" y="1117"/>
                    <a:pt x="1962" y="1082"/>
                    <a:pt x="2008" y="1082"/>
                  </a:cubicBezTo>
                  <a:cubicBezTo>
                    <a:pt x="2049" y="1082"/>
                    <a:pt x="2072" y="1094"/>
                    <a:pt x="2113" y="1094"/>
                  </a:cubicBezTo>
                  <a:cubicBezTo>
                    <a:pt x="2142" y="1094"/>
                    <a:pt x="2148" y="1071"/>
                    <a:pt x="2171" y="1071"/>
                  </a:cubicBezTo>
                  <a:cubicBezTo>
                    <a:pt x="2253" y="1071"/>
                    <a:pt x="2270" y="1164"/>
                    <a:pt x="2346" y="1164"/>
                  </a:cubicBezTo>
                  <a:cubicBezTo>
                    <a:pt x="2358" y="1164"/>
                    <a:pt x="2358" y="1152"/>
                    <a:pt x="2369" y="1152"/>
                  </a:cubicBezTo>
                  <a:cubicBezTo>
                    <a:pt x="2393" y="1152"/>
                    <a:pt x="2398" y="1170"/>
                    <a:pt x="2427" y="1170"/>
                  </a:cubicBezTo>
                  <a:cubicBezTo>
                    <a:pt x="2439" y="1170"/>
                    <a:pt x="2445" y="1164"/>
                    <a:pt x="2462" y="1164"/>
                  </a:cubicBezTo>
                  <a:cubicBezTo>
                    <a:pt x="2480" y="1164"/>
                    <a:pt x="2486" y="1181"/>
                    <a:pt x="2497" y="1187"/>
                  </a:cubicBezTo>
                  <a:cubicBezTo>
                    <a:pt x="2532" y="1199"/>
                    <a:pt x="2561" y="1193"/>
                    <a:pt x="2596" y="1193"/>
                  </a:cubicBezTo>
                  <a:cubicBezTo>
                    <a:pt x="2620" y="1193"/>
                    <a:pt x="2620" y="1193"/>
                    <a:pt x="2620" y="1193"/>
                  </a:cubicBezTo>
                  <a:cubicBezTo>
                    <a:pt x="2620" y="1170"/>
                    <a:pt x="2620" y="1170"/>
                    <a:pt x="2620" y="1170"/>
                  </a:cubicBezTo>
                  <a:cubicBezTo>
                    <a:pt x="2625" y="1164"/>
                    <a:pt x="2631" y="1158"/>
                    <a:pt x="2637" y="1158"/>
                  </a:cubicBezTo>
                  <a:cubicBezTo>
                    <a:pt x="2649" y="1158"/>
                    <a:pt x="2654" y="1164"/>
                    <a:pt x="2666" y="1164"/>
                  </a:cubicBezTo>
                  <a:cubicBezTo>
                    <a:pt x="2678" y="1164"/>
                    <a:pt x="2684" y="1164"/>
                    <a:pt x="2695" y="1164"/>
                  </a:cubicBezTo>
                  <a:cubicBezTo>
                    <a:pt x="2719" y="1164"/>
                    <a:pt x="2730" y="1187"/>
                    <a:pt x="2753" y="1193"/>
                  </a:cubicBezTo>
                  <a:cubicBezTo>
                    <a:pt x="2812" y="1216"/>
                    <a:pt x="2847" y="1240"/>
                    <a:pt x="2911" y="1240"/>
                  </a:cubicBezTo>
                  <a:cubicBezTo>
                    <a:pt x="2940" y="1240"/>
                    <a:pt x="2934" y="1187"/>
                    <a:pt x="2963" y="1181"/>
                  </a:cubicBezTo>
                  <a:cubicBezTo>
                    <a:pt x="3050" y="1158"/>
                    <a:pt x="3097" y="1135"/>
                    <a:pt x="3184" y="1135"/>
                  </a:cubicBezTo>
                  <a:cubicBezTo>
                    <a:pt x="3260" y="1135"/>
                    <a:pt x="3306" y="1146"/>
                    <a:pt x="3365" y="1193"/>
                  </a:cubicBezTo>
                  <a:cubicBezTo>
                    <a:pt x="3411" y="1222"/>
                    <a:pt x="3405" y="1274"/>
                    <a:pt x="3405" y="1333"/>
                  </a:cubicBezTo>
                  <a:cubicBezTo>
                    <a:pt x="3405" y="1385"/>
                    <a:pt x="3405" y="1385"/>
                    <a:pt x="3405" y="1385"/>
                  </a:cubicBezTo>
                  <a:cubicBezTo>
                    <a:pt x="3405" y="1467"/>
                    <a:pt x="3469" y="1496"/>
                    <a:pt x="3469" y="1577"/>
                  </a:cubicBezTo>
                  <a:cubicBezTo>
                    <a:pt x="3469" y="1595"/>
                    <a:pt x="3464" y="1600"/>
                    <a:pt x="3464" y="1618"/>
                  </a:cubicBezTo>
                  <a:cubicBezTo>
                    <a:pt x="3464" y="1647"/>
                    <a:pt x="3493" y="1653"/>
                    <a:pt x="3522" y="1664"/>
                  </a:cubicBezTo>
                  <a:cubicBezTo>
                    <a:pt x="3568" y="1682"/>
                    <a:pt x="3592" y="1705"/>
                    <a:pt x="3638" y="1723"/>
                  </a:cubicBezTo>
                  <a:cubicBezTo>
                    <a:pt x="4331" y="2072"/>
                    <a:pt x="4331" y="2072"/>
                    <a:pt x="4331" y="2072"/>
                  </a:cubicBezTo>
                  <a:lnTo>
                    <a:pt x="4331" y="2072"/>
                  </a:lnTo>
                  <a:cubicBezTo>
                    <a:pt x="4331" y="2084"/>
                    <a:pt x="4320" y="2101"/>
                    <a:pt x="4302" y="2101"/>
                  </a:cubicBezTo>
                  <a:cubicBezTo>
                    <a:pt x="4273" y="2101"/>
                    <a:pt x="4261" y="2078"/>
                    <a:pt x="4255" y="2055"/>
                  </a:cubicBezTo>
                  <a:cubicBezTo>
                    <a:pt x="4244" y="2060"/>
                    <a:pt x="4238" y="2066"/>
                    <a:pt x="4226" y="2066"/>
                  </a:cubicBezTo>
                  <a:cubicBezTo>
                    <a:pt x="4186" y="2031"/>
                    <a:pt x="4191" y="2037"/>
                    <a:pt x="4226" y="2107"/>
                  </a:cubicBezTo>
                  <a:cubicBezTo>
                    <a:pt x="4226" y="2183"/>
                    <a:pt x="4145" y="2194"/>
                    <a:pt x="4081" y="2223"/>
                  </a:cubicBezTo>
                  <a:cubicBezTo>
                    <a:pt x="4063" y="2223"/>
                    <a:pt x="4063" y="2223"/>
                    <a:pt x="4063" y="2223"/>
                  </a:cubicBezTo>
                  <a:cubicBezTo>
                    <a:pt x="4034" y="2229"/>
                    <a:pt x="4017" y="2235"/>
                    <a:pt x="3982" y="2235"/>
                  </a:cubicBezTo>
                  <a:cubicBezTo>
                    <a:pt x="3959" y="2235"/>
                    <a:pt x="3947" y="2223"/>
                    <a:pt x="3924" y="2223"/>
                  </a:cubicBezTo>
                  <a:cubicBezTo>
                    <a:pt x="3912" y="2223"/>
                    <a:pt x="3906" y="2235"/>
                    <a:pt x="3894" y="2235"/>
                  </a:cubicBezTo>
                  <a:cubicBezTo>
                    <a:pt x="3877" y="2235"/>
                    <a:pt x="3877" y="2223"/>
                    <a:pt x="3860" y="2223"/>
                  </a:cubicBezTo>
                  <a:cubicBezTo>
                    <a:pt x="3790" y="2223"/>
                    <a:pt x="3749" y="2252"/>
                    <a:pt x="3673" y="2252"/>
                  </a:cubicBezTo>
                  <a:cubicBezTo>
                    <a:pt x="3650" y="2252"/>
                    <a:pt x="3632" y="2252"/>
                    <a:pt x="3621" y="2235"/>
                  </a:cubicBezTo>
                  <a:cubicBezTo>
                    <a:pt x="3603" y="2258"/>
                    <a:pt x="3574" y="2252"/>
                    <a:pt x="3539" y="2258"/>
                  </a:cubicBezTo>
                  <a:cubicBezTo>
                    <a:pt x="3510" y="2264"/>
                    <a:pt x="3493" y="2276"/>
                    <a:pt x="3464" y="2276"/>
                  </a:cubicBezTo>
                  <a:cubicBezTo>
                    <a:pt x="3452" y="2276"/>
                    <a:pt x="3452" y="2258"/>
                    <a:pt x="3446" y="2247"/>
                  </a:cubicBezTo>
                  <a:cubicBezTo>
                    <a:pt x="3429" y="2287"/>
                    <a:pt x="3382" y="2293"/>
                    <a:pt x="3336" y="2293"/>
                  </a:cubicBezTo>
                  <a:cubicBezTo>
                    <a:pt x="3318" y="2293"/>
                    <a:pt x="3312" y="2264"/>
                    <a:pt x="3295" y="2264"/>
                  </a:cubicBezTo>
                  <a:cubicBezTo>
                    <a:pt x="3260" y="2264"/>
                    <a:pt x="3242" y="2270"/>
                    <a:pt x="3208" y="2276"/>
                  </a:cubicBezTo>
                  <a:cubicBezTo>
                    <a:pt x="3208" y="2282"/>
                    <a:pt x="3208" y="2287"/>
                    <a:pt x="3208" y="2293"/>
                  </a:cubicBezTo>
                  <a:cubicBezTo>
                    <a:pt x="3208" y="2316"/>
                    <a:pt x="3213" y="2334"/>
                    <a:pt x="3225" y="2352"/>
                  </a:cubicBezTo>
                  <a:cubicBezTo>
                    <a:pt x="3184" y="2375"/>
                    <a:pt x="3126" y="2375"/>
                    <a:pt x="3126" y="2421"/>
                  </a:cubicBezTo>
                  <a:cubicBezTo>
                    <a:pt x="3126" y="2427"/>
                    <a:pt x="3126" y="2427"/>
                    <a:pt x="3126" y="2433"/>
                  </a:cubicBezTo>
                  <a:cubicBezTo>
                    <a:pt x="3155" y="2415"/>
                    <a:pt x="3167" y="2404"/>
                    <a:pt x="3202" y="2398"/>
                  </a:cubicBezTo>
                  <a:cubicBezTo>
                    <a:pt x="3143" y="2456"/>
                    <a:pt x="3126" y="2497"/>
                    <a:pt x="3068" y="2555"/>
                  </a:cubicBezTo>
                  <a:cubicBezTo>
                    <a:pt x="3015" y="2608"/>
                    <a:pt x="2986" y="2637"/>
                    <a:pt x="2928" y="2683"/>
                  </a:cubicBezTo>
                  <a:cubicBezTo>
                    <a:pt x="2899" y="2707"/>
                    <a:pt x="2887" y="2724"/>
                    <a:pt x="2852" y="2736"/>
                  </a:cubicBezTo>
                  <a:cubicBezTo>
                    <a:pt x="2800" y="2753"/>
                    <a:pt x="2765" y="2741"/>
                    <a:pt x="2719" y="2759"/>
                  </a:cubicBezTo>
                  <a:cubicBezTo>
                    <a:pt x="2660" y="2782"/>
                    <a:pt x="2625" y="2805"/>
                    <a:pt x="2567" y="2805"/>
                  </a:cubicBezTo>
                  <a:cubicBezTo>
                    <a:pt x="2550" y="2805"/>
                    <a:pt x="2538" y="2805"/>
                    <a:pt x="2521" y="2805"/>
                  </a:cubicBezTo>
                  <a:cubicBezTo>
                    <a:pt x="2526" y="2835"/>
                    <a:pt x="2538" y="2852"/>
                    <a:pt x="2556" y="2881"/>
                  </a:cubicBezTo>
                  <a:cubicBezTo>
                    <a:pt x="2561" y="2899"/>
                    <a:pt x="2567" y="2922"/>
                    <a:pt x="2585" y="2922"/>
                  </a:cubicBezTo>
                  <a:cubicBezTo>
                    <a:pt x="2608" y="2922"/>
                    <a:pt x="2625" y="2910"/>
                    <a:pt x="2643" y="2899"/>
                  </a:cubicBezTo>
                  <a:cubicBezTo>
                    <a:pt x="2643" y="2904"/>
                    <a:pt x="2643" y="2910"/>
                    <a:pt x="2643" y="2916"/>
                  </a:cubicBezTo>
                  <a:cubicBezTo>
                    <a:pt x="2643" y="2980"/>
                    <a:pt x="2637" y="3015"/>
                    <a:pt x="2631" y="3073"/>
                  </a:cubicBezTo>
                  <a:cubicBezTo>
                    <a:pt x="2590" y="3062"/>
                    <a:pt x="2590" y="3021"/>
                    <a:pt x="2573" y="2980"/>
                  </a:cubicBezTo>
                  <a:cubicBezTo>
                    <a:pt x="2556" y="2945"/>
                    <a:pt x="2532" y="2928"/>
                    <a:pt x="2532" y="2887"/>
                  </a:cubicBezTo>
                  <a:cubicBezTo>
                    <a:pt x="2497" y="2881"/>
                    <a:pt x="2480" y="2864"/>
                    <a:pt x="2445" y="2864"/>
                  </a:cubicBezTo>
                  <a:cubicBezTo>
                    <a:pt x="2416" y="2864"/>
                    <a:pt x="2422" y="2904"/>
                    <a:pt x="2416" y="2934"/>
                  </a:cubicBezTo>
                  <a:cubicBezTo>
                    <a:pt x="2387" y="2904"/>
                    <a:pt x="2387" y="2881"/>
                    <a:pt x="2369" y="2846"/>
                  </a:cubicBezTo>
                  <a:cubicBezTo>
                    <a:pt x="2358" y="2835"/>
                    <a:pt x="2340" y="2829"/>
                    <a:pt x="2340" y="2811"/>
                  </a:cubicBezTo>
                  <a:cubicBezTo>
                    <a:pt x="2340" y="2800"/>
                    <a:pt x="2352" y="2800"/>
                    <a:pt x="2358" y="2794"/>
                  </a:cubicBezTo>
                  <a:cubicBezTo>
                    <a:pt x="2352" y="2776"/>
                    <a:pt x="2358" y="2753"/>
                    <a:pt x="2340" y="2753"/>
                  </a:cubicBezTo>
                  <a:cubicBezTo>
                    <a:pt x="2311" y="2753"/>
                    <a:pt x="2299" y="2776"/>
                    <a:pt x="2276" y="2782"/>
                  </a:cubicBezTo>
                  <a:cubicBezTo>
                    <a:pt x="2259" y="2788"/>
                    <a:pt x="2253" y="2788"/>
                    <a:pt x="2235" y="2788"/>
                  </a:cubicBezTo>
                  <a:cubicBezTo>
                    <a:pt x="2206" y="2788"/>
                    <a:pt x="2206" y="2759"/>
                    <a:pt x="2189" y="2730"/>
                  </a:cubicBezTo>
                  <a:cubicBezTo>
                    <a:pt x="2165" y="2707"/>
                    <a:pt x="2136" y="2695"/>
                    <a:pt x="2136" y="2660"/>
                  </a:cubicBezTo>
                  <a:cubicBezTo>
                    <a:pt x="2136" y="2648"/>
                    <a:pt x="2148" y="2637"/>
                    <a:pt x="2148" y="2625"/>
                  </a:cubicBezTo>
                  <a:cubicBezTo>
                    <a:pt x="2148" y="2619"/>
                    <a:pt x="2142" y="2619"/>
                    <a:pt x="2142" y="2613"/>
                  </a:cubicBezTo>
                  <a:cubicBezTo>
                    <a:pt x="2136" y="2613"/>
                    <a:pt x="2136" y="2613"/>
                    <a:pt x="2136" y="2613"/>
                  </a:cubicBezTo>
                  <a:cubicBezTo>
                    <a:pt x="2119" y="2613"/>
                    <a:pt x="2113" y="2619"/>
                    <a:pt x="2096" y="2619"/>
                  </a:cubicBezTo>
                  <a:cubicBezTo>
                    <a:pt x="2043" y="2613"/>
                    <a:pt x="2043" y="2613"/>
                    <a:pt x="2043" y="2613"/>
                  </a:cubicBezTo>
                  <a:cubicBezTo>
                    <a:pt x="2008" y="2613"/>
                    <a:pt x="1985" y="2613"/>
                    <a:pt x="1956" y="2637"/>
                  </a:cubicBezTo>
                  <a:cubicBezTo>
                    <a:pt x="1933" y="2648"/>
                    <a:pt x="1927" y="2672"/>
                    <a:pt x="1904" y="2672"/>
                  </a:cubicBezTo>
                  <a:cubicBezTo>
                    <a:pt x="1868" y="2672"/>
                    <a:pt x="1851" y="2642"/>
                    <a:pt x="1851" y="2613"/>
                  </a:cubicBezTo>
                  <a:cubicBezTo>
                    <a:pt x="1851" y="2578"/>
                    <a:pt x="1898" y="2590"/>
                    <a:pt x="1921" y="2567"/>
                  </a:cubicBezTo>
                  <a:cubicBezTo>
                    <a:pt x="1962" y="2526"/>
                    <a:pt x="1991" y="2497"/>
                    <a:pt x="1991" y="2439"/>
                  </a:cubicBezTo>
                  <a:cubicBezTo>
                    <a:pt x="1991" y="2392"/>
                    <a:pt x="1973" y="2369"/>
                    <a:pt x="1944" y="2334"/>
                  </a:cubicBezTo>
                  <a:cubicBezTo>
                    <a:pt x="1927" y="2311"/>
                    <a:pt x="1927" y="2282"/>
                    <a:pt x="1898" y="2282"/>
                  </a:cubicBezTo>
                  <a:cubicBezTo>
                    <a:pt x="1874" y="2282"/>
                    <a:pt x="1868" y="2305"/>
                    <a:pt x="1851" y="2322"/>
                  </a:cubicBezTo>
                  <a:cubicBezTo>
                    <a:pt x="1816" y="2346"/>
                    <a:pt x="1787" y="2352"/>
                    <a:pt x="1746" y="2381"/>
                  </a:cubicBezTo>
                  <a:cubicBezTo>
                    <a:pt x="1723" y="2392"/>
                    <a:pt x="1705" y="2404"/>
                    <a:pt x="1688" y="2421"/>
                  </a:cubicBezTo>
                  <a:cubicBezTo>
                    <a:pt x="1676" y="2439"/>
                    <a:pt x="1653" y="2439"/>
                    <a:pt x="1653" y="2456"/>
                  </a:cubicBezTo>
                  <a:cubicBezTo>
                    <a:pt x="1653" y="2479"/>
                    <a:pt x="1682" y="2491"/>
                    <a:pt x="1705" y="2491"/>
                  </a:cubicBezTo>
                  <a:cubicBezTo>
                    <a:pt x="1741" y="2491"/>
                    <a:pt x="1758" y="2468"/>
                    <a:pt x="1787" y="2450"/>
                  </a:cubicBezTo>
                  <a:cubicBezTo>
                    <a:pt x="1793" y="2456"/>
                    <a:pt x="1799" y="2462"/>
                    <a:pt x="1799" y="2468"/>
                  </a:cubicBezTo>
                  <a:cubicBezTo>
                    <a:pt x="1799" y="2515"/>
                    <a:pt x="1752" y="2520"/>
                    <a:pt x="1711" y="2538"/>
                  </a:cubicBezTo>
                  <a:cubicBezTo>
                    <a:pt x="1642" y="2578"/>
                    <a:pt x="1601" y="2608"/>
                    <a:pt x="1525" y="2642"/>
                  </a:cubicBezTo>
                  <a:cubicBezTo>
                    <a:pt x="1444" y="2683"/>
                    <a:pt x="1426" y="2741"/>
                    <a:pt x="1356" y="2794"/>
                  </a:cubicBezTo>
                  <a:cubicBezTo>
                    <a:pt x="1339" y="2805"/>
                    <a:pt x="1321" y="2805"/>
                    <a:pt x="1304" y="2817"/>
                  </a:cubicBezTo>
                  <a:cubicBezTo>
                    <a:pt x="1281" y="2841"/>
                    <a:pt x="1286" y="2893"/>
                    <a:pt x="1251" y="2893"/>
                  </a:cubicBezTo>
                  <a:cubicBezTo>
                    <a:pt x="1193" y="2893"/>
                    <a:pt x="1176" y="2829"/>
                    <a:pt x="1123" y="2829"/>
                  </a:cubicBezTo>
                  <a:cubicBezTo>
                    <a:pt x="1118" y="2829"/>
                    <a:pt x="1112" y="2841"/>
                    <a:pt x="1106" y="2841"/>
                  </a:cubicBezTo>
                  <a:cubicBezTo>
                    <a:pt x="1059" y="2841"/>
                    <a:pt x="1048" y="2794"/>
                    <a:pt x="1001" y="2771"/>
                  </a:cubicBezTo>
                  <a:cubicBezTo>
                    <a:pt x="960" y="2753"/>
                    <a:pt x="925" y="2759"/>
                    <a:pt x="885" y="2730"/>
                  </a:cubicBezTo>
                  <a:cubicBezTo>
                    <a:pt x="809" y="2672"/>
                    <a:pt x="780" y="2596"/>
                    <a:pt x="681" y="2596"/>
                  </a:cubicBezTo>
                  <a:cubicBezTo>
                    <a:pt x="646" y="2596"/>
                    <a:pt x="629" y="2619"/>
                    <a:pt x="588" y="2619"/>
                  </a:cubicBezTo>
                  <a:cubicBezTo>
                    <a:pt x="570" y="2619"/>
                    <a:pt x="564" y="2602"/>
                    <a:pt x="547" y="2590"/>
                  </a:cubicBezTo>
                  <a:cubicBezTo>
                    <a:pt x="501" y="2555"/>
                    <a:pt x="466" y="2532"/>
                    <a:pt x="401" y="2532"/>
                  </a:cubicBezTo>
                  <a:cubicBezTo>
                    <a:pt x="384" y="2532"/>
                    <a:pt x="378" y="2544"/>
                    <a:pt x="361" y="2549"/>
                  </a:cubicBezTo>
                  <a:cubicBezTo>
                    <a:pt x="338" y="2555"/>
                    <a:pt x="303" y="2549"/>
                    <a:pt x="303" y="2573"/>
                  </a:cubicBezTo>
                  <a:cubicBezTo>
                    <a:pt x="303" y="2584"/>
                    <a:pt x="308" y="2590"/>
                    <a:pt x="308" y="2602"/>
                  </a:cubicBezTo>
                  <a:cubicBezTo>
                    <a:pt x="308" y="2619"/>
                    <a:pt x="308" y="2619"/>
                    <a:pt x="308" y="2619"/>
                  </a:cubicBezTo>
                  <a:cubicBezTo>
                    <a:pt x="291" y="2619"/>
                    <a:pt x="291" y="2619"/>
                    <a:pt x="291" y="2619"/>
                  </a:cubicBezTo>
                  <a:cubicBezTo>
                    <a:pt x="233" y="2596"/>
                    <a:pt x="215" y="2561"/>
                    <a:pt x="169" y="2515"/>
                  </a:cubicBezTo>
                  <a:cubicBezTo>
                    <a:pt x="116" y="2456"/>
                    <a:pt x="70" y="2427"/>
                    <a:pt x="0" y="2415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" name="Freeform 12"/>
            <p:cNvSpPr>
              <a:spLocks noChangeArrowheads="1"/>
            </p:cNvSpPr>
            <p:nvPr/>
          </p:nvSpPr>
          <p:spPr bwMode="auto">
            <a:xfrm>
              <a:off x="18847268" y="7333958"/>
              <a:ext cx="2669597" cy="2367092"/>
            </a:xfrm>
            <a:custGeom>
              <a:avLst/>
              <a:gdLst>
                <a:gd name="T0" fmla="*/ 4331 w 6067"/>
                <a:gd name="T1" fmla="*/ 5314 h 5379"/>
                <a:gd name="T2" fmla="*/ 4290 w 6067"/>
                <a:gd name="T3" fmla="*/ 5145 h 5379"/>
                <a:gd name="T4" fmla="*/ 4343 w 6067"/>
                <a:gd name="T5" fmla="*/ 4912 h 5379"/>
                <a:gd name="T6" fmla="*/ 4412 w 6067"/>
                <a:gd name="T7" fmla="*/ 4615 h 5379"/>
                <a:gd name="T8" fmla="*/ 4453 w 6067"/>
                <a:gd name="T9" fmla="*/ 4307 h 5379"/>
                <a:gd name="T10" fmla="*/ 4605 w 6067"/>
                <a:gd name="T11" fmla="*/ 3992 h 5379"/>
                <a:gd name="T12" fmla="*/ 4651 w 6067"/>
                <a:gd name="T13" fmla="*/ 3969 h 5379"/>
                <a:gd name="T14" fmla="*/ 4674 w 6067"/>
                <a:gd name="T15" fmla="*/ 3894 h 5379"/>
                <a:gd name="T16" fmla="*/ 4762 w 6067"/>
                <a:gd name="T17" fmla="*/ 3666 h 5379"/>
                <a:gd name="T18" fmla="*/ 4866 w 6067"/>
                <a:gd name="T19" fmla="*/ 3387 h 5379"/>
                <a:gd name="T20" fmla="*/ 4901 w 6067"/>
                <a:gd name="T21" fmla="*/ 3038 h 5379"/>
                <a:gd name="T22" fmla="*/ 4948 w 6067"/>
                <a:gd name="T23" fmla="*/ 2974 h 5379"/>
                <a:gd name="T24" fmla="*/ 5082 w 6067"/>
                <a:gd name="T25" fmla="*/ 2828 h 5379"/>
                <a:gd name="T26" fmla="*/ 5123 w 6067"/>
                <a:gd name="T27" fmla="*/ 2799 h 5379"/>
                <a:gd name="T28" fmla="*/ 5414 w 6067"/>
                <a:gd name="T29" fmla="*/ 2496 h 5379"/>
                <a:gd name="T30" fmla="*/ 5501 w 6067"/>
                <a:gd name="T31" fmla="*/ 2310 h 5379"/>
                <a:gd name="T32" fmla="*/ 5670 w 6067"/>
                <a:gd name="T33" fmla="*/ 2031 h 5379"/>
                <a:gd name="T34" fmla="*/ 5821 w 6067"/>
                <a:gd name="T35" fmla="*/ 1583 h 5379"/>
                <a:gd name="T36" fmla="*/ 5862 w 6067"/>
                <a:gd name="T37" fmla="*/ 1140 h 5379"/>
                <a:gd name="T38" fmla="*/ 5914 w 6067"/>
                <a:gd name="T39" fmla="*/ 936 h 5379"/>
                <a:gd name="T40" fmla="*/ 5868 w 6067"/>
                <a:gd name="T41" fmla="*/ 703 h 5379"/>
                <a:gd name="T42" fmla="*/ 6043 w 6067"/>
                <a:gd name="T43" fmla="*/ 174 h 5379"/>
                <a:gd name="T44" fmla="*/ 5955 w 6067"/>
                <a:gd name="T45" fmla="*/ 46 h 5379"/>
                <a:gd name="T46" fmla="*/ 5693 w 6067"/>
                <a:gd name="T47" fmla="*/ 104 h 5379"/>
                <a:gd name="T48" fmla="*/ 5286 w 6067"/>
                <a:gd name="T49" fmla="*/ 214 h 5379"/>
                <a:gd name="T50" fmla="*/ 5227 w 6067"/>
                <a:gd name="T51" fmla="*/ 447 h 5379"/>
                <a:gd name="T52" fmla="*/ 4913 w 6067"/>
                <a:gd name="T53" fmla="*/ 389 h 5379"/>
                <a:gd name="T54" fmla="*/ 4610 w 6067"/>
                <a:gd name="T55" fmla="*/ 273 h 5379"/>
                <a:gd name="T56" fmla="*/ 4261 w 6067"/>
                <a:gd name="T57" fmla="*/ 255 h 5379"/>
                <a:gd name="T58" fmla="*/ 3894 w 6067"/>
                <a:gd name="T59" fmla="*/ 389 h 5379"/>
                <a:gd name="T60" fmla="*/ 0 w 6067"/>
                <a:gd name="T61" fmla="*/ 3311 h 5379"/>
                <a:gd name="T62" fmla="*/ 279 w 6067"/>
                <a:gd name="T63" fmla="*/ 3410 h 5379"/>
                <a:gd name="T64" fmla="*/ 593 w 6067"/>
                <a:gd name="T65" fmla="*/ 3439 h 5379"/>
                <a:gd name="T66" fmla="*/ 710 w 6067"/>
                <a:gd name="T67" fmla="*/ 3637 h 5379"/>
                <a:gd name="T68" fmla="*/ 1030 w 6067"/>
                <a:gd name="T69" fmla="*/ 3696 h 5379"/>
                <a:gd name="T70" fmla="*/ 1251 w 6067"/>
                <a:gd name="T71" fmla="*/ 4033 h 5379"/>
                <a:gd name="T72" fmla="*/ 1554 w 6067"/>
                <a:gd name="T73" fmla="*/ 4289 h 5379"/>
                <a:gd name="T74" fmla="*/ 1862 w 6067"/>
                <a:gd name="T75" fmla="*/ 4528 h 5379"/>
                <a:gd name="T76" fmla="*/ 2107 w 6067"/>
                <a:gd name="T77" fmla="*/ 4400 h 5379"/>
                <a:gd name="T78" fmla="*/ 2421 w 6067"/>
                <a:gd name="T79" fmla="*/ 4476 h 5379"/>
                <a:gd name="T80" fmla="*/ 2614 w 6067"/>
                <a:gd name="T81" fmla="*/ 4499 h 5379"/>
                <a:gd name="T82" fmla="*/ 2689 w 6067"/>
                <a:gd name="T83" fmla="*/ 4470 h 5379"/>
                <a:gd name="T84" fmla="*/ 3178 w 6067"/>
                <a:gd name="T85" fmla="*/ 4441 h 5379"/>
                <a:gd name="T86" fmla="*/ 3463 w 6067"/>
                <a:gd name="T87" fmla="*/ 4883 h 5379"/>
                <a:gd name="T88" fmla="*/ 4325 w 6067"/>
                <a:gd name="T89" fmla="*/ 5378 h 5379"/>
                <a:gd name="T90" fmla="*/ 4046 w 6067"/>
                <a:gd name="T91" fmla="*/ 4068 h 5379"/>
                <a:gd name="T92" fmla="*/ 3912 w 6067"/>
                <a:gd name="T93" fmla="*/ 4348 h 5379"/>
                <a:gd name="T94" fmla="*/ 3731 w 6067"/>
                <a:gd name="T95" fmla="*/ 4220 h 5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067" h="5379">
                  <a:moveTo>
                    <a:pt x="4325" y="5378"/>
                  </a:moveTo>
                  <a:lnTo>
                    <a:pt x="4325" y="5378"/>
                  </a:lnTo>
                  <a:cubicBezTo>
                    <a:pt x="4331" y="5372"/>
                    <a:pt x="4331" y="5366"/>
                    <a:pt x="4331" y="5361"/>
                  </a:cubicBezTo>
                  <a:cubicBezTo>
                    <a:pt x="4331" y="5314"/>
                    <a:pt x="4331" y="5314"/>
                    <a:pt x="4331" y="5314"/>
                  </a:cubicBezTo>
                  <a:cubicBezTo>
                    <a:pt x="4331" y="5273"/>
                    <a:pt x="4343" y="5250"/>
                    <a:pt x="4343" y="5215"/>
                  </a:cubicBezTo>
                  <a:cubicBezTo>
                    <a:pt x="4343" y="5180"/>
                    <a:pt x="4337" y="5163"/>
                    <a:pt x="4337" y="5133"/>
                  </a:cubicBezTo>
                  <a:cubicBezTo>
                    <a:pt x="4314" y="5133"/>
                    <a:pt x="4314" y="5133"/>
                    <a:pt x="4314" y="5133"/>
                  </a:cubicBezTo>
                  <a:cubicBezTo>
                    <a:pt x="4302" y="5133"/>
                    <a:pt x="4302" y="5139"/>
                    <a:pt x="4290" y="5145"/>
                  </a:cubicBezTo>
                  <a:cubicBezTo>
                    <a:pt x="4290" y="5122"/>
                    <a:pt x="4290" y="5122"/>
                    <a:pt x="4290" y="5122"/>
                  </a:cubicBezTo>
                  <a:cubicBezTo>
                    <a:pt x="4308" y="5064"/>
                    <a:pt x="4308" y="5064"/>
                    <a:pt x="4308" y="5064"/>
                  </a:cubicBezTo>
                  <a:cubicBezTo>
                    <a:pt x="4302" y="5052"/>
                    <a:pt x="4296" y="5046"/>
                    <a:pt x="4296" y="5035"/>
                  </a:cubicBezTo>
                  <a:cubicBezTo>
                    <a:pt x="4296" y="4988"/>
                    <a:pt x="4343" y="4965"/>
                    <a:pt x="4343" y="4912"/>
                  </a:cubicBezTo>
                  <a:cubicBezTo>
                    <a:pt x="4343" y="4906"/>
                    <a:pt x="4337" y="4906"/>
                    <a:pt x="4337" y="4906"/>
                  </a:cubicBezTo>
                  <a:cubicBezTo>
                    <a:pt x="4337" y="4854"/>
                    <a:pt x="4377" y="4831"/>
                    <a:pt x="4377" y="4784"/>
                  </a:cubicBezTo>
                  <a:cubicBezTo>
                    <a:pt x="4377" y="4703"/>
                    <a:pt x="4377" y="4703"/>
                    <a:pt x="4377" y="4703"/>
                  </a:cubicBezTo>
                  <a:cubicBezTo>
                    <a:pt x="4377" y="4668"/>
                    <a:pt x="4412" y="4650"/>
                    <a:pt x="4412" y="4615"/>
                  </a:cubicBezTo>
                  <a:cubicBezTo>
                    <a:pt x="4412" y="4569"/>
                    <a:pt x="4389" y="4551"/>
                    <a:pt x="4389" y="4505"/>
                  </a:cubicBezTo>
                  <a:cubicBezTo>
                    <a:pt x="4389" y="4476"/>
                    <a:pt x="4424" y="4470"/>
                    <a:pt x="4424" y="4441"/>
                  </a:cubicBezTo>
                  <a:cubicBezTo>
                    <a:pt x="4424" y="4435"/>
                    <a:pt x="4412" y="4441"/>
                    <a:pt x="4412" y="4435"/>
                  </a:cubicBezTo>
                  <a:cubicBezTo>
                    <a:pt x="4412" y="4383"/>
                    <a:pt x="4453" y="4359"/>
                    <a:pt x="4453" y="4307"/>
                  </a:cubicBezTo>
                  <a:cubicBezTo>
                    <a:pt x="4471" y="4313"/>
                    <a:pt x="4482" y="4295"/>
                    <a:pt x="4488" y="4272"/>
                  </a:cubicBezTo>
                  <a:cubicBezTo>
                    <a:pt x="4500" y="4249"/>
                    <a:pt x="4523" y="4237"/>
                    <a:pt x="4523" y="4208"/>
                  </a:cubicBezTo>
                  <a:cubicBezTo>
                    <a:pt x="4523" y="4150"/>
                    <a:pt x="4558" y="4126"/>
                    <a:pt x="4570" y="4074"/>
                  </a:cubicBezTo>
                  <a:cubicBezTo>
                    <a:pt x="4575" y="4045"/>
                    <a:pt x="4587" y="4016"/>
                    <a:pt x="4605" y="3992"/>
                  </a:cubicBezTo>
                  <a:lnTo>
                    <a:pt x="4605" y="3992"/>
                  </a:lnTo>
                  <a:cubicBezTo>
                    <a:pt x="4599" y="3987"/>
                    <a:pt x="4593" y="3987"/>
                    <a:pt x="4593" y="3975"/>
                  </a:cubicBezTo>
                  <a:cubicBezTo>
                    <a:pt x="4593" y="3958"/>
                    <a:pt x="4634" y="3934"/>
                    <a:pt x="4651" y="3969"/>
                  </a:cubicBezTo>
                  <a:lnTo>
                    <a:pt x="4651" y="3969"/>
                  </a:lnTo>
                  <a:cubicBezTo>
                    <a:pt x="4657" y="3969"/>
                    <a:pt x="4657" y="3969"/>
                    <a:pt x="4663" y="3969"/>
                  </a:cubicBezTo>
                  <a:cubicBezTo>
                    <a:pt x="4669" y="3969"/>
                    <a:pt x="4674" y="3975"/>
                    <a:pt x="4680" y="3975"/>
                  </a:cubicBezTo>
                  <a:cubicBezTo>
                    <a:pt x="4686" y="3975"/>
                    <a:pt x="4692" y="3969"/>
                    <a:pt x="4692" y="3969"/>
                  </a:cubicBezTo>
                  <a:cubicBezTo>
                    <a:pt x="4680" y="3946"/>
                    <a:pt x="4674" y="3928"/>
                    <a:pt x="4674" y="3894"/>
                  </a:cubicBezTo>
                  <a:cubicBezTo>
                    <a:pt x="4674" y="3882"/>
                    <a:pt x="4692" y="3876"/>
                    <a:pt x="4703" y="3876"/>
                  </a:cubicBezTo>
                  <a:cubicBezTo>
                    <a:pt x="4733" y="3894"/>
                    <a:pt x="4738" y="3940"/>
                    <a:pt x="4709" y="3818"/>
                  </a:cubicBezTo>
                  <a:cubicBezTo>
                    <a:pt x="4703" y="3812"/>
                    <a:pt x="4703" y="3800"/>
                    <a:pt x="4698" y="3789"/>
                  </a:cubicBezTo>
                  <a:cubicBezTo>
                    <a:pt x="4738" y="3754"/>
                    <a:pt x="4762" y="3719"/>
                    <a:pt x="4762" y="3666"/>
                  </a:cubicBezTo>
                  <a:cubicBezTo>
                    <a:pt x="4762" y="3608"/>
                    <a:pt x="4762" y="3608"/>
                    <a:pt x="4762" y="3608"/>
                  </a:cubicBezTo>
                  <a:cubicBezTo>
                    <a:pt x="4762" y="3597"/>
                    <a:pt x="4744" y="3591"/>
                    <a:pt x="4744" y="3579"/>
                  </a:cubicBezTo>
                  <a:cubicBezTo>
                    <a:pt x="4744" y="3550"/>
                    <a:pt x="4768" y="3539"/>
                    <a:pt x="4779" y="3515"/>
                  </a:cubicBezTo>
                  <a:cubicBezTo>
                    <a:pt x="4803" y="3463"/>
                    <a:pt x="4832" y="3434"/>
                    <a:pt x="4866" y="3387"/>
                  </a:cubicBezTo>
                  <a:cubicBezTo>
                    <a:pt x="4936" y="3288"/>
                    <a:pt x="4971" y="3213"/>
                    <a:pt x="4971" y="3090"/>
                  </a:cubicBezTo>
                  <a:cubicBezTo>
                    <a:pt x="4971" y="3079"/>
                    <a:pt x="4966" y="3067"/>
                    <a:pt x="4954" y="3067"/>
                  </a:cubicBezTo>
                  <a:cubicBezTo>
                    <a:pt x="4931" y="3067"/>
                    <a:pt x="4925" y="3084"/>
                    <a:pt x="4901" y="3090"/>
                  </a:cubicBezTo>
                  <a:cubicBezTo>
                    <a:pt x="4901" y="3067"/>
                    <a:pt x="4901" y="3055"/>
                    <a:pt x="4901" y="3038"/>
                  </a:cubicBezTo>
                  <a:cubicBezTo>
                    <a:pt x="4901" y="3014"/>
                    <a:pt x="4884" y="3003"/>
                    <a:pt x="4884" y="2985"/>
                  </a:cubicBezTo>
                  <a:cubicBezTo>
                    <a:pt x="4884" y="2980"/>
                    <a:pt x="4890" y="2980"/>
                    <a:pt x="4890" y="2974"/>
                  </a:cubicBezTo>
                  <a:cubicBezTo>
                    <a:pt x="4901" y="2980"/>
                    <a:pt x="4907" y="2991"/>
                    <a:pt x="4919" y="2991"/>
                  </a:cubicBezTo>
                  <a:cubicBezTo>
                    <a:pt x="4931" y="2991"/>
                    <a:pt x="4936" y="2974"/>
                    <a:pt x="4948" y="2974"/>
                  </a:cubicBezTo>
                  <a:cubicBezTo>
                    <a:pt x="4960" y="2974"/>
                    <a:pt x="4966" y="2991"/>
                    <a:pt x="4983" y="2991"/>
                  </a:cubicBezTo>
                  <a:cubicBezTo>
                    <a:pt x="5006" y="2991"/>
                    <a:pt x="5035" y="2980"/>
                    <a:pt x="5035" y="2950"/>
                  </a:cubicBezTo>
                  <a:cubicBezTo>
                    <a:pt x="5035" y="2939"/>
                    <a:pt x="5029" y="2939"/>
                    <a:pt x="5029" y="2927"/>
                  </a:cubicBezTo>
                  <a:cubicBezTo>
                    <a:pt x="5029" y="2881"/>
                    <a:pt x="5082" y="2875"/>
                    <a:pt x="5082" y="2828"/>
                  </a:cubicBezTo>
                  <a:cubicBezTo>
                    <a:pt x="5082" y="2758"/>
                    <a:pt x="5082" y="2758"/>
                    <a:pt x="5082" y="2758"/>
                  </a:cubicBezTo>
                  <a:cubicBezTo>
                    <a:pt x="5082" y="2741"/>
                    <a:pt x="5094" y="2735"/>
                    <a:pt x="5105" y="2735"/>
                  </a:cubicBezTo>
                  <a:cubicBezTo>
                    <a:pt x="5123" y="2735"/>
                    <a:pt x="5123" y="2735"/>
                    <a:pt x="5123" y="2735"/>
                  </a:cubicBezTo>
                  <a:cubicBezTo>
                    <a:pt x="5123" y="2758"/>
                    <a:pt x="5117" y="2776"/>
                    <a:pt x="5123" y="2799"/>
                  </a:cubicBezTo>
                  <a:cubicBezTo>
                    <a:pt x="5140" y="2764"/>
                    <a:pt x="5140" y="2741"/>
                    <a:pt x="5163" y="2706"/>
                  </a:cubicBezTo>
                  <a:cubicBezTo>
                    <a:pt x="5198" y="2648"/>
                    <a:pt x="5251" y="2642"/>
                    <a:pt x="5286" y="2584"/>
                  </a:cubicBezTo>
                  <a:cubicBezTo>
                    <a:pt x="5292" y="2566"/>
                    <a:pt x="5286" y="2555"/>
                    <a:pt x="5297" y="2537"/>
                  </a:cubicBezTo>
                  <a:cubicBezTo>
                    <a:pt x="5321" y="2496"/>
                    <a:pt x="5367" y="2514"/>
                    <a:pt x="5414" y="2496"/>
                  </a:cubicBezTo>
                  <a:cubicBezTo>
                    <a:pt x="5455" y="2479"/>
                    <a:pt x="5466" y="2444"/>
                    <a:pt x="5507" y="2421"/>
                  </a:cubicBezTo>
                  <a:cubicBezTo>
                    <a:pt x="5524" y="2409"/>
                    <a:pt x="5548" y="2398"/>
                    <a:pt x="5548" y="2374"/>
                  </a:cubicBezTo>
                  <a:cubicBezTo>
                    <a:pt x="5548" y="2345"/>
                    <a:pt x="5542" y="2304"/>
                    <a:pt x="5513" y="2304"/>
                  </a:cubicBezTo>
                  <a:cubicBezTo>
                    <a:pt x="5507" y="2304"/>
                    <a:pt x="5507" y="2310"/>
                    <a:pt x="5501" y="2310"/>
                  </a:cubicBezTo>
                  <a:cubicBezTo>
                    <a:pt x="5501" y="2287"/>
                    <a:pt x="5489" y="2275"/>
                    <a:pt x="5489" y="2246"/>
                  </a:cubicBezTo>
                  <a:cubicBezTo>
                    <a:pt x="5489" y="2217"/>
                    <a:pt x="5542" y="2229"/>
                    <a:pt x="5554" y="2205"/>
                  </a:cubicBezTo>
                  <a:cubicBezTo>
                    <a:pt x="5565" y="2182"/>
                    <a:pt x="5559" y="2170"/>
                    <a:pt x="5571" y="2153"/>
                  </a:cubicBezTo>
                  <a:cubicBezTo>
                    <a:pt x="5600" y="2101"/>
                    <a:pt x="5647" y="2089"/>
                    <a:pt x="5670" y="2031"/>
                  </a:cubicBezTo>
                  <a:cubicBezTo>
                    <a:pt x="5687" y="1978"/>
                    <a:pt x="5699" y="1949"/>
                    <a:pt x="5705" y="1891"/>
                  </a:cubicBezTo>
                  <a:cubicBezTo>
                    <a:pt x="5711" y="1879"/>
                    <a:pt x="5722" y="1874"/>
                    <a:pt x="5734" y="1862"/>
                  </a:cubicBezTo>
                  <a:cubicBezTo>
                    <a:pt x="5757" y="1827"/>
                    <a:pt x="5763" y="1804"/>
                    <a:pt x="5769" y="1763"/>
                  </a:cubicBezTo>
                  <a:cubicBezTo>
                    <a:pt x="5781" y="1693"/>
                    <a:pt x="5821" y="1652"/>
                    <a:pt x="5821" y="1583"/>
                  </a:cubicBezTo>
                  <a:cubicBezTo>
                    <a:pt x="5821" y="1559"/>
                    <a:pt x="5821" y="1548"/>
                    <a:pt x="5821" y="1530"/>
                  </a:cubicBezTo>
                  <a:cubicBezTo>
                    <a:pt x="5781" y="1524"/>
                    <a:pt x="5792" y="1478"/>
                    <a:pt x="5792" y="1437"/>
                  </a:cubicBezTo>
                  <a:cubicBezTo>
                    <a:pt x="5792" y="1396"/>
                    <a:pt x="5810" y="1373"/>
                    <a:pt x="5815" y="1332"/>
                  </a:cubicBezTo>
                  <a:cubicBezTo>
                    <a:pt x="5839" y="1257"/>
                    <a:pt x="5839" y="1216"/>
                    <a:pt x="5862" y="1140"/>
                  </a:cubicBezTo>
                  <a:cubicBezTo>
                    <a:pt x="5868" y="1111"/>
                    <a:pt x="5897" y="1099"/>
                    <a:pt x="5897" y="1059"/>
                  </a:cubicBezTo>
                  <a:cubicBezTo>
                    <a:pt x="5897" y="1047"/>
                    <a:pt x="5897" y="1041"/>
                    <a:pt x="5897" y="1029"/>
                  </a:cubicBezTo>
                  <a:cubicBezTo>
                    <a:pt x="5897" y="1000"/>
                    <a:pt x="5926" y="989"/>
                    <a:pt x="5926" y="960"/>
                  </a:cubicBezTo>
                  <a:cubicBezTo>
                    <a:pt x="5926" y="948"/>
                    <a:pt x="5914" y="942"/>
                    <a:pt x="5914" y="936"/>
                  </a:cubicBezTo>
                  <a:cubicBezTo>
                    <a:pt x="5914" y="860"/>
                    <a:pt x="5961" y="826"/>
                    <a:pt x="5961" y="756"/>
                  </a:cubicBezTo>
                  <a:cubicBezTo>
                    <a:pt x="5961" y="721"/>
                    <a:pt x="5932" y="703"/>
                    <a:pt x="5897" y="703"/>
                  </a:cubicBezTo>
                  <a:cubicBezTo>
                    <a:pt x="5885" y="703"/>
                    <a:pt x="5874" y="709"/>
                    <a:pt x="5862" y="715"/>
                  </a:cubicBezTo>
                  <a:cubicBezTo>
                    <a:pt x="5868" y="703"/>
                    <a:pt x="5868" y="703"/>
                    <a:pt x="5868" y="703"/>
                  </a:cubicBezTo>
                  <a:cubicBezTo>
                    <a:pt x="5885" y="663"/>
                    <a:pt x="5938" y="668"/>
                    <a:pt x="5967" y="634"/>
                  </a:cubicBezTo>
                  <a:cubicBezTo>
                    <a:pt x="6008" y="581"/>
                    <a:pt x="5984" y="529"/>
                    <a:pt x="6008" y="465"/>
                  </a:cubicBezTo>
                  <a:cubicBezTo>
                    <a:pt x="6025" y="418"/>
                    <a:pt x="6066" y="395"/>
                    <a:pt x="6066" y="348"/>
                  </a:cubicBezTo>
                  <a:cubicBezTo>
                    <a:pt x="6066" y="279"/>
                    <a:pt x="6043" y="238"/>
                    <a:pt x="6043" y="174"/>
                  </a:cubicBezTo>
                  <a:cubicBezTo>
                    <a:pt x="6043" y="133"/>
                    <a:pt x="6054" y="110"/>
                    <a:pt x="6054" y="69"/>
                  </a:cubicBezTo>
                  <a:cubicBezTo>
                    <a:pt x="6054" y="46"/>
                    <a:pt x="6048" y="22"/>
                    <a:pt x="6043" y="0"/>
                  </a:cubicBezTo>
                  <a:lnTo>
                    <a:pt x="6043" y="0"/>
                  </a:lnTo>
                  <a:cubicBezTo>
                    <a:pt x="6008" y="22"/>
                    <a:pt x="5990" y="34"/>
                    <a:pt x="5955" y="46"/>
                  </a:cubicBezTo>
                  <a:cubicBezTo>
                    <a:pt x="5932" y="51"/>
                    <a:pt x="5909" y="40"/>
                    <a:pt x="5891" y="51"/>
                  </a:cubicBezTo>
                  <a:cubicBezTo>
                    <a:pt x="5862" y="63"/>
                    <a:pt x="5862" y="110"/>
                    <a:pt x="5833" y="110"/>
                  </a:cubicBezTo>
                  <a:cubicBezTo>
                    <a:pt x="5815" y="110"/>
                    <a:pt x="5810" y="98"/>
                    <a:pt x="5792" y="98"/>
                  </a:cubicBezTo>
                  <a:cubicBezTo>
                    <a:pt x="5757" y="92"/>
                    <a:pt x="5728" y="104"/>
                    <a:pt x="5693" y="104"/>
                  </a:cubicBezTo>
                  <a:cubicBezTo>
                    <a:pt x="5635" y="104"/>
                    <a:pt x="5612" y="57"/>
                    <a:pt x="5554" y="57"/>
                  </a:cubicBezTo>
                  <a:cubicBezTo>
                    <a:pt x="5507" y="57"/>
                    <a:pt x="5501" y="104"/>
                    <a:pt x="5466" y="133"/>
                  </a:cubicBezTo>
                  <a:cubicBezTo>
                    <a:pt x="5449" y="145"/>
                    <a:pt x="5431" y="133"/>
                    <a:pt x="5408" y="145"/>
                  </a:cubicBezTo>
                  <a:cubicBezTo>
                    <a:pt x="5355" y="162"/>
                    <a:pt x="5338" y="197"/>
                    <a:pt x="5286" y="214"/>
                  </a:cubicBezTo>
                  <a:cubicBezTo>
                    <a:pt x="5297" y="244"/>
                    <a:pt x="5303" y="261"/>
                    <a:pt x="5321" y="279"/>
                  </a:cubicBezTo>
                  <a:cubicBezTo>
                    <a:pt x="5326" y="284"/>
                    <a:pt x="5344" y="284"/>
                    <a:pt x="5344" y="296"/>
                  </a:cubicBezTo>
                  <a:cubicBezTo>
                    <a:pt x="5344" y="360"/>
                    <a:pt x="5297" y="418"/>
                    <a:pt x="5233" y="418"/>
                  </a:cubicBezTo>
                  <a:cubicBezTo>
                    <a:pt x="5233" y="430"/>
                    <a:pt x="5233" y="436"/>
                    <a:pt x="5227" y="447"/>
                  </a:cubicBezTo>
                  <a:cubicBezTo>
                    <a:pt x="5198" y="447"/>
                    <a:pt x="5187" y="407"/>
                    <a:pt x="5158" y="407"/>
                  </a:cubicBezTo>
                  <a:cubicBezTo>
                    <a:pt x="5094" y="407"/>
                    <a:pt x="5070" y="465"/>
                    <a:pt x="5041" y="523"/>
                  </a:cubicBezTo>
                  <a:cubicBezTo>
                    <a:pt x="5029" y="540"/>
                    <a:pt x="5035" y="564"/>
                    <a:pt x="5018" y="564"/>
                  </a:cubicBezTo>
                  <a:cubicBezTo>
                    <a:pt x="4936" y="564"/>
                    <a:pt x="4983" y="424"/>
                    <a:pt x="4913" y="389"/>
                  </a:cubicBezTo>
                  <a:cubicBezTo>
                    <a:pt x="4849" y="360"/>
                    <a:pt x="4826" y="325"/>
                    <a:pt x="4768" y="290"/>
                  </a:cubicBezTo>
                  <a:cubicBezTo>
                    <a:pt x="4750" y="279"/>
                    <a:pt x="4750" y="255"/>
                    <a:pt x="4727" y="255"/>
                  </a:cubicBezTo>
                  <a:cubicBezTo>
                    <a:pt x="4703" y="255"/>
                    <a:pt x="4692" y="273"/>
                    <a:pt x="4663" y="273"/>
                  </a:cubicBezTo>
                  <a:cubicBezTo>
                    <a:pt x="4610" y="273"/>
                    <a:pt x="4610" y="273"/>
                    <a:pt x="4610" y="273"/>
                  </a:cubicBezTo>
                  <a:cubicBezTo>
                    <a:pt x="4605" y="273"/>
                    <a:pt x="4599" y="279"/>
                    <a:pt x="4587" y="279"/>
                  </a:cubicBezTo>
                  <a:cubicBezTo>
                    <a:pt x="4540" y="279"/>
                    <a:pt x="4535" y="214"/>
                    <a:pt x="4488" y="214"/>
                  </a:cubicBezTo>
                  <a:cubicBezTo>
                    <a:pt x="4412" y="214"/>
                    <a:pt x="4377" y="261"/>
                    <a:pt x="4302" y="261"/>
                  </a:cubicBezTo>
                  <a:cubicBezTo>
                    <a:pt x="4284" y="261"/>
                    <a:pt x="4279" y="255"/>
                    <a:pt x="4261" y="255"/>
                  </a:cubicBezTo>
                  <a:cubicBezTo>
                    <a:pt x="4209" y="255"/>
                    <a:pt x="4209" y="255"/>
                    <a:pt x="4209" y="255"/>
                  </a:cubicBezTo>
                  <a:cubicBezTo>
                    <a:pt x="4174" y="255"/>
                    <a:pt x="4156" y="232"/>
                    <a:pt x="4121" y="232"/>
                  </a:cubicBezTo>
                  <a:cubicBezTo>
                    <a:pt x="4075" y="232"/>
                    <a:pt x="4057" y="279"/>
                    <a:pt x="4017" y="308"/>
                  </a:cubicBezTo>
                  <a:cubicBezTo>
                    <a:pt x="3970" y="342"/>
                    <a:pt x="3929" y="342"/>
                    <a:pt x="3894" y="389"/>
                  </a:cubicBezTo>
                  <a:cubicBezTo>
                    <a:pt x="3877" y="407"/>
                    <a:pt x="3888" y="442"/>
                    <a:pt x="3865" y="447"/>
                  </a:cubicBezTo>
                  <a:cubicBezTo>
                    <a:pt x="11" y="459"/>
                    <a:pt x="11" y="459"/>
                    <a:pt x="11" y="459"/>
                  </a:cubicBezTo>
                  <a:lnTo>
                    <a:pt x="11" y="459"/>
                  </a:lnTo>
                  <a:cubicBezTo>
                    <a:pt x="0" y="3311"/>
                    <a:pt x="0" y="3311"/>
                    <a:pt x="0" y="3311"/>
                  </a:cubicBezTo>
                  <a:lnTo>
                    <a:pt x="0" y="3311"/>
                  </a:lnTo>
                  <a:cubicBezTo>
                    <a:pt x="23" y="3306"/>
                    <a:pt x="23" y="3306"/>
                    <a:pt x="23" y="3306"/>
                  </a:cubicBezTo>
                  <a:cubicBezTo>
                    <a:pt x="64" y="3329"/>
                    <a:pt x="93" y="3323"/>
                    <a:pt x="139" y="3340"/>
                  </a:cubicBezTo>
                  <a:cubicBezTo>
                    <a:pt x="198" y="3364"/>
                    <a:pt x="215" y="3410"/>
                    <a:pt x="279" y="3410"/>
                  </a:cubicBezTo>
                  <a:cubicBezTo>
                    <a:pt x="314" y="3410"/>
                    <a:pt x="308" y="3346"/>
                    <a:pt x="343" y="3346"/>
                  </a:cubicBezTo>
                  <a:cubicBezTo>
                    <a:pt x="378" y="3346"/>
                    <a:pt x="401" y="3364"/>
                    <a:pt x="436" y="3364"/>
                  </a:cubicBezTo>
                  <a:cubicBezTo>
                    <a:pt x="460" y="3364"/>
                    <a:pt x="471" y="3358"/>
                    <a:pt x="495" y="3358"/>
                  </a:cubicBezTo>
                  <a:cubicBezTo>
                    <a:pt x="541" y="3358"/>
                    <a:pt x="564" y="3399"/>
                    <a:pt x="593" y="3439"/>
                  </a:cubicBezTo>
                  <a:cubicBezTo>
                    <a:pt x="599" y="3451"/>
                    <a:pt x="605" y="3463"/>
                    <a:pt x="617" y="3474"/>
                  </a:cubicBezTo>
                  <a:cubicBezTo>
                    <a:pt x="640" y="3492"/>
                    <a:pt x="687" y="3474"/>
                    <a:pt x="687" y="3503"/>
                  </a:cubicBezTo>
                  <a:cubicBezTo>
                    <a:pt x="687" y="3527"/>
                    <a:pt x="675" y="3544"/>
                    <a:pt x="675" y="3573"/>
                  </a:cubicBezTo>
                  <a:cubicBezTo>
                    <a:pt x="675" y="3602"/>
                    <a:pt x="698" y="3614"/>
                    <a:pt x="710" y="3637"/>
                  </a:cubicBezTo>
                  <a:cubicBezTo>
                    <a:pt x="733" y="3690"/>
                    <a:pt x="739" y="3748"/>
                    <a:pt x="791" y="3748"/>
                  </a:cubicBezTo>
                  <a:cubicBezTo>
                    <a:pt x="826" y="3748"/>
                    <a:pt x="832" y="3702"/>
                    <a:pt x="832" y="3666"/>
                  </a:cubicBezTo>
                  <a:cubicBezTo>
                    <a:pt x="838" y="3637"/>
                    <a:pt x="867" y="3632"/>
                    <a:pt x="873" y="3602"/>
                  </a:cubicBezTo>
                  <a:cubicBezTo>
                    <a:pt x="896" y="3672"/>
                    <a:pt x="966" y="3678"/>
                    <a:pt x="1030" y="3696"/>
                  </a:cubicBezTo>
                  <a:cubicBezTo>
                    <a:pt x="1082" y="3707"/>
                    <a:pt x="1100" y="3736"/>
                    <a:pt x="1147" y="3754"/>
                  </a:cubicBezTo>
                  <a:cubicBezTo>
                    <a:pt x="1141" y="3783"/>
                    <a:pt x="1123" y="3795"/>
                    <a:pt x="1123" y="3824"/>
                  </a:cubicBezTo>
                  <a:cubicBezTo>
                    <a:pt x="1123" y="3882"/>
                    <a:pt x="1123" y="3928"/>
                    <a:pt x="1164" y="3969"/>
                  </a:cubicBezTo>
                  <a:cubicBezTo>
                    <a:pt x="1193" y="3998"/>
                    <a:pt x="1251" y="3992"/>
                    <a:pt x="1251" y="4033"/>
                  </a:cubicBezTo>
                  <a:cubicBezTo>
                    <a:pt x="1251" y="4074"/>
                    <a:pt x="1251" y="4074"/>
                    <a:pt x="1251" y="4074"/>
                  </a:cubicBezTo>
                  <a:cubicBezTo>
                    <a:pt x="1251" y="4103"/>
                    <a:pt x="1292" y="4097"/>
                    <a:pt x="1315" y="4103"/>
                  </a:cubicBezTo>
                  <a:cubicBezTo>
                    <a:pt x="1356" y="4115"/>
                    <a:pt x="1373" y="4144"/>
                    <a:pt x="1408" y="4167"/>
                  </a:cubicBezTo>
                  <a:cubicBezTo>
                    <a:pt x="1473" y="4208"/>
                    <a:pt x="1519" y="4225"/>
                    <a:pt x="1554" y="4289"/>
                  </a:cubicBezTo>
                  <a:cubicBezTo>
                    <a:pt x="1566" y="4313"/>
                    <a:pt x="1589" y="4313"/>
                    <a:pt x="1606" y="4330"/>
                  </a:cubicBezTo>
                  <a:cubicBezTo>
                    <a:pt x="1641" y="4388"/>
                    <a:pt x="1659" y="4429"/>
                    <a:pt x="1717" y="4470"/>
                  </a:cubicBezTo>
                  <a:cubicBezTo>
                    <a:pt x="1758" y="4505"/>
                    <a:pt x="1781" y="4546"/>
                    <a:pt x="1839" y="4546"/>
                  </a:cubicBezTo>
                  <a:cubicBezTo>
                    <a:pt x="1851" y="4546"/>
                    <a:pt x="1851" y="4534"/>
                    <a:pt x="1862" y="4528"/>
                  </a:cubicBezTo>
                  <a:cubicBezTo>
                    <a:pt x="1886" y="4522"/>
                    <a:pt x="1903" y="4528"/>
                    <a:pt x="1927" y="4522"/>
                  </a:cubicBezTo>
                  <a:cubicBezTo>
                    <a:pt x="1921" y="4499"/>
                    <a:pt x="1909" y="4493"/>
                    <a:pt x="1909" y="4470"/>
                  </a:cubicBezTo>
                  <a:cubicBezTo>
                    <a:pt x="1909" y="4423"/>
                    <a:pt x="1956" y="4388"/>
                    <a:pt x="2002" y="4388"/>
                  </a:cubicBezTo>
                  <a:cubicBezTo>
                    <a:pt x="2043" y="4388"/>
                    <a:pt x="2066" y="4400"/>
                    <a:pt x="2107" y="4400"/>
                  </a:cubicBezTo>
                  <a:cubicBezTo>
                    <a:pt x="2136" y="4400"/>
                    <a:pt x="2142" y="4377"/>
                    <a:pt x="2165" y="4377"/>
                  </a:cubicBezTo>
                  <a:cubicBezTo>
                    <a:pt x="2247" y="4377"/>
                    <a:pt x="2264" y="4470"/>
                    <a:pt x="2340" y="4470"/>
                  </a:cubicBezTo>
                  <a:cubicBezTo>
                    <a:pt x="2352" y="4470"/>
                    <a:pt x="2352" y="4458"/>
                    <a:pt x="2363" y="4458"/>
                  </a:cubicBezTo>
                  <a:cubicBezTo>
                    <a:pt x="2387" y="4458"/>
                    <a:pt x="2392" y="4476"/>
                    <a:pt x="2421" y="4476"/>
                  </a:cubicBezTo>
                  <a:cubicBezTo>
                    <a:pt x="2433" y="4476"/>
                    <a:pt x="2439" y="4470"/>
                    <a:pt x="2456" y="4470"/>
                  </a:cubicBezTo>
                  <a:cubicBezTo>
                    <a:pt x="2474" y="4470"/>
                    <a:pt x="2480" y="4487"/>
                    <a:pt x="2491" y="4493"/>
                  </a:cubicBezTo>
                  <a:cubicBezTo>
                    <a:pt x="2526" y="4505"/>
                    <a:pt x="2555" y="4499"/>
                    <a:pt x="2590" y="4499"/>
                  </a:cubicBezTo>
                  <a:cubicBezTo>
                    <a:pt x="2614" y="4499"/>
                    <a:pt x="2614" y="4499"/>
                    <a:pt x="2614" y="4499"/>
                  </a:cubicBezTo>
                  <a:cubicBezTo>
                    <a:pt x="2614" y="4476"/>
                    <a:pt x="2614" y="4476"/>
                    <a:pt x="2614" y="4476"/>
                  </a:cubicBezTo>
                  <a:cubicBezTo>
                    <a:pt x="2619" y="4470"/>
                    <a:pt x="2625" y="4464"/>
                    <a:pt x="2631" y="4464"/>
                  </a:cubicBezTo>
                  <a:cubicBezTo>
                    <a:pt x="2643" y="4464"/>
                    <a:pt x="2648" y="4470"/>
                    <a:pt x="2660" y="4470"/>
                  </a:cubicBezTo>
                  <a:cubicBezTo>
                    <a:pt x="2672" y="4470"/>
                    <a:pt x="2678" y="4470"/>
                    <a:pt x="2689" y="4470"/>
                  </a:cubicBezTo>
                  <a:cubicBezTo>
                    <a:pt x="2713" y="4470"/>
                    <a:pt x="2724" y="4493"/>
                    <a:pt x="2747" y="4499"/>
                  </a:cubicBezTo>
                  <a:cubicBezTo>
                    <a:pt x="2806" y="4522"/>
                    <a:pt x="2841" y="4546"/>
                    <a:pt x="2905" y="4546"/>
                  </a:cubicBezTo>
                  <a:cubicBezTo>
                    <a:pt x="2934" y="4546"/>
                    <a:pt x="2928" y="4493"/>
                    <a:pt x="2957" y="4487"/>
                  </a:cubicBezTo>
                  <a:cubicBezTo>
                    <a:pt x="3044" y="4464"/>
                    <a:pt x="3091" y="4441"/>
                    <a:pt x="3178" y="4441"/>
                  </a:cubicBezTo>
                  <a:cubicBezTo>
                    <a:pt x="3254" y="4441"/>
                    <a:pt x="3300" y="4452"/>
                    <a:pt x="3359" y="4499"/>
                  </a:cubicBezTo>
                  <a:cubicBezTo>
                    <a:pt x="3405" y="4528"/>
                    <a:pt x="3399" y="4580"/>
                    <a:pt x="3399" y="4639"/>
                  </a:cubicBezTo>
                  <a:cubicBezTo>
                    <a:pt x="3399" y="4691"/>
                    <a:pt x="3399" y="4691"/>
                    <a:pt x="3399" y="4691"/>
                  </a:cubicBezTo>
                  <a:cubicBezTo>
                    <a:pt x="3399" y="4773"/>
                    <a:pt x="3463" y="4802"/>
                    <a:pt x="3463" y="4883"/>
                  </a:cubicBezTo>
                  <a:cubicBezTo>
                    <a:pt x="3463" y="4901"/>
                    <a:pt x="3458" y="4906"/>
                    <a:pt x="3458" y="4924"/>
                  </a:cubicBezTo>
                  <a:cubicBezTo>
                    <a:pt x="3458" y="4953"/>
                    <a:pt x="3487" y="4959"/>
                    <a:pt x="3516" y="4970"/>
                  </a:cubicBezTo>
                  <a:cubicBezTo>
                    <a:pt x="3562" y="4988"/>
                    <a:pt x="3586" y="5011"/>
                    <a:pt x="3632" y="5029"/>
                  </a:cubicBezTo>
                  <a:cubicBezTo>
                    <a:pt x="4325" y="5378"/>
                    <a:pt x="4325" y="5378"/>
                    <a:pt x="4325" y="5378"/>
                  </a:cubicBezTo>
                  <a:close/>
                  <a:moveTo>
                    <a:pt x="3859" y="3987"/>
                  </a:moveTo>
                  <a:lnTo>
                    <a:pt x="3859" y="3987"/>
                  </a:lnTo>
                  <a:cubicBezTo>
                    <a:pt x="3883" y="3969"/>
                    <a:pt x="3900" y="3952"/>
                    <a:pt x="3929" y="3952"/>
                  </a:cubicBezTo>
                  <a:cubicBezTo>
                    <a:pt x="3993" y="3952"/>
                    <a:pt x="3988" y="4039"/>
                    <a:pt x="4046" y="4068"/>
                  </a:cubicBezTo>
                  <a:cubicBezTo>
                    <a:pt x="4011" y="4097"/>
                    <a:pt x="3970" y="4074"/>
                    <a:pt x="3935" y="4103"/>
                  </a:cubicBezTo>
                  <a:cubicBezTo>
                    <a:pt x="3918" y="4115"/>
                    <a:pt x="3923" y="4144"/>
                    <a:pt x="3918" y="4167"/>
                  </a:cubicBezTo>
                  <a:cubicBezTo>
                    <a:pt x="3912" y="4196"/>
                    <a:pt x="3900" y="4220"/>
                    <a:pt x="3900" y="4249"/>
                  </a:cubicBezTo>
                  <a:cubicBezTo>
                    <a:pt x="3900" y="4289"/>
                    <a:pt x="3912" y="4307"/>
                    <a:pt x="3912" y="4348"/>
                  </a:cubicBezTo>
                  <a:cubicBezTo>
                    <a:pt x="3912" y="4365"/>
                    <a:pt x="3906" y="4377"/>
                    <a:pt x="3906" y="4394"/>
                  </a:cubicBezTo>
                  <a:cubicBezTo>
                    <a:pt x="3906" y="4412"/>
                    <a:pt x="3918" y="4435"/>
                    <a:pt x="3900" y="4435"/>
                  </a:cubicBezTo>
                  <a:cubicBezTo>
                    <a:pt x="3848" y="4435"/>
                    <a:pt x="3830" y="4388"/>
                    <a:pt x="3801" y="4348"/>
                  </a:cubicBezTo>
                  <a:cubicBezTo>
                    <a:pt x="3766" y="4301"/>
                    <a:pt x="3731" y="4278"/>
                    <a:pt x="3731" y="4220"/>
                  </a:cubicBezTo>
                  <a:cubicBezTo>
                    <a:pt x="3731" y="4173"/>
                    <a:pt x="3766" y="4155"/>
                    <a:pt x="3766" y="4109"/>
                  </a:cubicBezTo>
                  <a:cubicBezTo>
                    <a:pt x="3766" y="4068"/>
                    <a:pt x="3766" y="4068"/>
                    <a:pt x="3766" y="4068"/>
                  </a:cubicBezTo>
                  <a:cubicBezTo>
                    <a:pt x="3766" y="4022"/>
                    <a:pt x="3848" y="4039"/>
                    <a:pt x="3859" y="3987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" name="Freeform 13"/>
            <p:cNvSpPr>
              <a:spLocks noChangeArrowheads="1"/>
            </p:cNvSpPr>
            <p:nvPr/>
          </p:nvSpPr>
          <p:spPr bwMode="auto">
            <a:xfrm>
              <a:off x="19452576" y="10263719"/>
              <a:ext cx="973938" cy="1142801"/>
            </a:xfrm>
            <a:custGeom>
              <a:avLst/>
              <a:gdLst>
                <a:gd name="T0" fmla="*/ 1945 w 2214"/>
                <a:gd name="T1" fmla="*/ 1915 h 2597"/>
                <a:gd name="T2" fmla="*/ 1997 w 2214"/>
                <a:gd name="T3" fmla="*/ 2154 h 2597"/>
                <a:gd name="T4" fmla="*/ 1968 w 2214"/>
                <a:gd name="T5" fmla="*/ 2305 h 2597"/>
                <a:gd name="T6" fmla="*/ 1869 w 2214"/>
                <a:gd name="T7" fmla="*/ 2288 h 2597"/>
                <a:gd name="T8" fmla="*/ 1834 w 2214"/>
                <a:gd name="T9" fmla="*/ 2183 h 2597"/>
                <a:gd name="T10" fmla="*/ 1939 w 2214"/>
                <a:gd name="T11" fmla="*/ 2206 h 2597"/>
                <a:gd name="T12" fmla="*/ 1724 w 2214"/>
                <a:gd name="T13" fmla="*/ 2136 h 2597"/>
                <a:gd name="T14" fmla="*/ 1636 w 2214"/>
                <a:gd name="T15" fmla="*/ 2212 h 2597"/>
                <a:gd name="T16" fmla="*/ 1561 w 2214"/>
                <a:gd name="T17" fmla="*/ 2328 h 2597"/>
                <a:gd name="T18" fmla="*/ 1537 w 2214"/>
                <a:gd name="T19" fmla="*/ 2386 h 2597"/>
                <a:gd name="T20" fmla="*/ 1479 w 2214"/>
                <a:gd name="T21" fmla="*/ 2491 h 2597"/>
                <a:gd name="T22" fmla="*/ 1194 w 2214"/>
                <a:gd name="T23" fmla="*/ 2538 h 2597"/>
                <a:gd name="T24" fmla="*/ 1031 w 2214"/>
                <a:gd name="T25" fmla="*/ 2456 h 2597"/>
                <a:gd name="T26" fmla="*/ 751 w 2214"/>
                <a:gd name="T27" fmla="*/ 1996 h 2597"/>
                <a:gd name="T28" fmla="*/ 664 w 2214"/>
                <a:gd name="T29" fmla="*/ 1700 h 2597"/>
                <a:gd name="T30" fmla="*/ 780 w 2214"/>
                <a:gd name="T31" fmla="*/ 1828 h 2597"/>
                <a:gd name="T32" fmla="*/ 746 w 2214"/>
                <a:gd name="T33" fmla="*/ 1694 h 2597"/>
                <a:gd name="T34" fmla="*/ 449 w 2214"/>
                <a:gd name="T35" fmla="*/ 1158 h 2597"/>
                <a:gd name="T36" fmla="*/ 379 w 2214"/>
                <a:gd name="T37" fmla="*/ 890 h 2597"/>
                <a:gd name="T38" fmla="*/ 425 w 2214"/>
                <a:gd name="T39" fmla="*/ 698 h 2597"/>
                <a:gd name="T40" fmla="*/ 600 w 2214"/>
                <a:gd name="T41" fmla="*/ 774 h 2597"/>
                <a:gd name="T42" fmla="*/ 1042 w 2214"/>
                <a:gd name="T43" fmla="*/ 937 h 2597"/>
                <a:gd name="T44" fmla="*/ 1322 w 2214"/>
                <a:gd name="T45" fmla="*/ 1030 h 2597"/>
                <a:gd name="T46" fmla="*/ 1514 w 2214"/>
                <a:gd name="T47" fmla="*/ 1065 h 2597"/>
                <a:gd name="T48" fmla="*/ 1473 w 2214"/>
                <a:gd name="T49" fmla="*/ 890 h 2597"/>
                <a:gd name="T50" fmla="*/ 1694 w 2214"/>
                <a:gd name="T51" fmla="*/ 908 h 2597"/>
                <a:gd name="T52" fmla="*/ 1986 w 2214"/>
                <a:gd name="T53" fmla="*/ 751 h 2597"/>
                <a:gd name="T54" fmla="*/ 2125 w 2214"/>
                <a:gd name="T55" fmla="*/ 943 h 2597"/>
                <a:gd name="T56" fmla="*/ 2131 w 2214"/>
                <a:gd name="T57" fmla="*/ 1141 h 2597"/>
                <a:gd name="T58" fmla="*/ 2137 w 2214"/>
                <a:gd name="T59" fmla="*/ 1385 h 2597"/>
                <a:gd name="T60" fmla="*/ 2149 w 2214"/>
                <a:gd name="T61" fmla="*/ 1595 h 2597"/>
                <a:gd name="T62" fmla="*/ 2108 w 2214"/>
                <a:gd name="T63" fmla="*/ 1531 h 2597"/>
                <a:gd name="T64" fmla="*/ 2009 w 2214"/>
                <a:gd name="T65" fmla="*/ 1769 h 2597"/>
                <a:gd name="T66" fmla="*/ 1665 w 2214"/>
                <a:gd name="T67" fmla="*/ 2381 h 2597"/>
                <a:gd name="T68" fmla="*/ 1683 w 2214"/>
                <a:gd name="T69" fmla="*/ 2451 h 2597"/>
                <a:gd name="T70" fmla="*/ 2055 w 2214"/>
                <a:gd name="T71" fmla="*/ 1932 h 2597"/>
                <a:gd name="T72" fmla="*/ 2044 w 2214"/>
                <a:gd name="T73" fmla="*/ 1921 h 2597"/>
                <a:gd name="T74" fmla="*/ 2061 w 2214"/>
                <a:gd name="T75" fmla="*/ 1973 h 2597"/>
                <a:gd name="T76" fmla="*/ 513 w 2214"/>
                <a:gd name="T77" fmla="*/ 669 h 2597"/>
                <a:gd name="T78" fmla="*/ 559 w 2214"/>
                <a:gd name="T79" fmla="*/ 687 h 2597"/>
                <a:gd name="T80" fmla="*/ 1916 w 2214"/>
                <a:gd name="T81" fmla="*/ 169 h 2597"/>
                <a:gd name="T82" fmla="*/ 1951 w 2214"/>
                <a:gd name="T83" fmla="*/ 273 h 2597"/>
                <a:gd name="T84" fmla="*/ 2096 w 2214"/>
                <a:gd name="T85" fmla="*/ 390 h 2597"/>
                <a:gd name="T86" fmla="*/ 2143 w 2214"/>
                <a:gd name="T87" fmla="*/ 343 h 2597"/>
                <a:gd name="T88" fmla="*/ 2131 w 2214"/>
                <a:gd name="T89" fmla="*/ 297 h 2597"/>
                <a:gd name="T90" fmla="*/ 1916 w 2214"/>
                <a:gd name="T91" fmla="*/ 169 h 2597"/>
                <a:gd name="T92" fmla="*/ 2050 w 2214"/>
                <a:gd name="T93" fmla="*/ 477 h 2597"/>
                <a:gd name="T94" fmla="*/ 2137 w 2214"/>
                <a:gd name="T95" fmla="*/ 518 h 2597"/>
                <a:gd name="T96" fmla="*/ 2172 w 2214"/>
                <a:gd name="T97" fmla="*/ 454 h 2597"/>
                <a:gd name="T98" fmla="*/ 2067 w 2214"/>
                <a:gd name="T99" fmla="*/ 599 h 2597"/>
                <a:gd name="T100" fmla="*/ 2114 w 2214"/>
                <a:gd name="T101" fmla="*/ 582 h 2597"/>
                <a:gd name="T102" fmla="*/ 483 w 2214"/>
                <a:gd name="T103" fmla="*/ 541 h 2597"/>
                <a:gd name="T104" fmla="*/ 483 w 2214"/>
                <a:gd name="T105" fmla="*/ 541 h 2597"/>
                <a:gd name="T106" fmla="*/ 59 w 2214"/>
                <a:gd name="T107" fmla="*/ 6 h 2597"/>
                <a:gd name="T108" fmla="*/ 12 w 2214"/>
                <a:gd name="T109" fmla="*/ 75 h 2597"/>
                <a:gd name="T110" fmla="*/ 0 w 2214"/>
                <a:gd name="T111" fmla="*/ 209 h 2597"/>
                <a:gd name="T112" fmla="*/ 41 w 2214"/>
                <a:gd name="T113" fmla="*/ 332 h 2597"/>
                <a:gd name="T114" fmla="*/ 117 w 2214"/>
                <a:gd name="T115" fmla="*/ 128 h 2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14" h="2597">
                  <a:moveTo>
                    <a:pt x="2009" y="1769"/>
                  </a:moveTo>
                  <a:lnTo>
                    <a:pt x="2009" y="1769"/>
                  </a:lnTo>
                  <a:cubicBezTo>
                    <a:pt x="2009" y="1828"/>
                    <a:pt x="1991" y="1868"/>
                    <a:pt x="1945" y="1915"/>
                  </a:cubicBezTo>
                  <a:cubicBezTo>
                    <a:pt x="1974" y="1985"/>
                    <a:pt x="1974" y="1985"/>
                    <a:pt x="1974" y="1985"/>
                  </a:cubicBezTo>
                  <a:cubicBezTo>
                    <a:pt x="1968" y="2031"/>
                    <a:pt x="1927" y="2055"/>
                    <a:pt x="1927" y="2101"/>
                  </a:cubicBezTo>
                  <a:cubicBezTo>
                    <a:pt x="1927" y="2136"/>
                    <a:pt x="1997" y="2119"/>
                    <a:pt x="1997" y="2154"/>
                  </a:cubicBezTo>
                  <a:cubicBezTo>
                    <a:pt x="1997" y="2177"/>
                    <a:pt x="1980" y="2183"/>
                    <a:pt x="1968" y="2200"/>
                  </a:cubicBezTo>
                  <a:cubicBezTo>
                    <a:pt x="1980" y="2282"/>
                    <a:pt x="1980" y="2282"/>
                    <a:pt x="1980" y="2282"/>
                  </a:cubicBezTo>
                  <a:cubicBezTo>
                    <a:pt x="1980" y="2293"/>
                    <a:pt x="1974" y="2299"/>
                    <a:pt x="1968" y="2305"/>
                  </a:cubicBezTo>
                  <a:cubicBezTo>
                    <a:pt x="1951" y="2293"/>
                    <a:pt x="1945" y="2276"/>
                    <a:pt x="1939" y="2258"/>
                  </a:cubicBezTo>
                  <a:cubicBezTo>
                    <a:pt x="1927" y="2282"/>
                    <a:pt x="1921" y="2311"/>
                    <a:pt x="1898" y="2311"/>
                  </a:cubicBezTo>
                  <a:cubicBezTo>
                    <a:pt x="1887" y="2311"/>
                    <a:pt x="1869" y="2299"/>
                    <a:pt x="1869" y="2288"/>
                  </a:cubicBezTo>
                  <a:cubicBezTo>
                    <a:pt x="1869" y="2264"/>
                    <a:pt x="1869" y="2258"/>
                    <a:pt x="1869" y="2235"/>
                  </a:cubicBezTo>
                  <a:cubicBezTo>
                    <a:pt x="1852" y="2235"/>
                    <a:pt x="1840" y="2235"/>
                    <a:pt x="1823" y="2223"/>
                  </a:cubicBezTo>
                  <a:cubicBezTo>
                    <a:pt x="1834" y="2212"/>
                    <a:pt x="1834" y="2200"/>
                    <a:pt x="1834" y="2183"/>
                  </a:cubicBezTo>
                  <a:cubicBezTo>
                    <a:pt x="1846" y="2183"/>
                    <a:pt x="1846" y="2183"/>
                    <a:pt x="1846" y="2183"/>
                  </a:cubicBezTo>
                  <a:cubicBezTo>
                    <a:pt x="1863" y="2200"/>
                    <a:pt x="1869" y="2229"/>
                    <a:pt x="1898" y="2229"/>
                  </a:cubicBezTo>
                  <a:cubicBezTo>
                    <a:pt x="1916" y="2229"/>
                    <a:pt x="1939" y="2223"/>
                    <a:pt x="1939" y="2206"/>
                  </a:cubicBezTo>
                  <a:cubicBezTo>
                    <a:pt x="1939" y="2130"/>
                    <a:pt x="1863" y="2078"/>
                    <a:pt x="1788" y="2078"/>
                  </a:cubicBezTo>
                  <a:cubicBezTo>
                    <a:pt x="1747" y="2078"/>
                    <a:pt x="1747" y="2276"/>
                    <a:pt x="1747" y="2171"/>
                  </a:cubicBezTo>
                  <a:cubicBezTo>
                    <a:pt x="1747" y="2159"/>
                    <a:pt x="1741" y="2136"/>
                    <a:pt x="1724" y="2136"/>
                  </a:cubicBezTo>
                  <a:cubicBezTo>
                    <a:pt x="1689" y="2136"/>
                    <a:pt x="1665" y="2165"/>
                    <a:pt x="1665" y="2200"/>
                  </a:cubicBezTo>
                  <a:cubicBezTo>
                    <a:pt x="1665" y="2223"/>
                    <a:pt x="1665" y="2223"/>
                    <a:pt x="1665" y="2223"/>
                  </a:cubicBezTo>
                  <a:cubicBezTo>
                    <a:pt x="1654" y="2218"/>
                    <a:pt x="1648" y="2218"/>
                    <a:pt x="1636" y="2212"/>
                  </a:cubicBezTo>
                  <a:cubicBezTo>
                    <a:pt x="1642" y="2241"/>
                    <a:pt x="1654" y="2258"/>
                    <a:pt x="1654" y="2288"/>
                  </a:cubicBezTo>
                  <a:cubicBezTo>
                    <a:pt x="1654" y="2322"/>
                    <a:pt x="1660" y="2369"/>
                    <a:pt x="1625" y="2369"/>
                  </a:cubicBezTo>
                  <a:cubicBezTo>
                    <a:pt x="1595" y="2369"/>
                    <a:pt x="1572" y="2357"/>
                    <a:pt x="1561" y="2328"/>
                  </a:cubicBezTo>
                  <a:cubicBezTo>
                    <a:pt x="1561" y="2317"/>
                    <a:pt x="1561" y="2317"/>
                    <a:pt x="1561" y="2317"/>
                  </a:cubicBezTo>
                  <a:cubicBezTo>
                    <a:pt x="1537" y="2322"/>
                    <a:pt x="1520" y="2311"/>
                    <a:pt x="1497" y="2305"/>
                  </a:cubicBezTo>
                  <a:cubicBezTo>
                    <a:pt x="1520" y="2334"/>
                    <a:pt x="1537" y="2352"/>
                    <a:pt x="1537" y="2386"/>
                  </a:cubicBezTo>
                  <a:cubicBezTo>
                    <a:pt x="1537" y="2398"/>
                    <a:pt x="1531" y="2404"/>
                    <a:pt x="1520" y="2410"/>
                  </a:cubicBezTo>
                  <a:cubicBezTo>
                    <a:pt x="1520" y="2416"/>
                    <a:pt x="1531" y="2421"/>
                    <a:pt x="1531" y="2427"/>
                  </a:cubicBezTo>
                  <a:cubicBezTo>
                    <a:pt x="1531" y="2456"/>
                    <a:pt x="1502" y="2468"/>
                    <a:pt x="1479" y="2491"/>
                  </a:cubicBezTo>
                  <a:cubicBezTo>
                    <a:pt x="1456" y="2526"/>
                    <a:pt x="1473" y="2596"/>
                    <a:pt x="1427" y="2596"/>
                  </a:cubicBezTo>
                  <a:cubicBezTo>
                    <a:pt x="1368" y="2596"/>
                    <a:pt x="1351" y="2538"/>
                    <a:pt x="1293" y="2538"/>
                  </a:cubicBezTo>
                  <a:cubicBezTo>
                    <a:pt x="1252" y="2538"/>
                    <a:pt x="1235" y="2538"/>
                    <a:pt x="1194" y="2538"/>
                  </a:cubicBezTo>
                  <a:cubicBezTo>
                    <a:pt x="1176" y="2538"/>
                    <a:pt x="1171" y="2526"/>
                    <a:pt x="1153" y="2526"/>
                  </a:cubicBezTo>
                  <a:cubicBezTo>
                    <a:pt x="1124" y="2526"/>
                    <a:pt x="1118" y="2567"/>
                    <a:pt x="1083" y="2567"/>
                  </a:cubicBezTo>
                  <a:cubicBezTo>
                    <a:pt x="1037" y="2567"/>
                    <a:pt x="1060" y="2497"/>
                    <a:pt x="1031" y="2456"/>
                  </a:cubicBezTo>
                  <a:cubicBezTo>
                    <a:pt x="1002" y="2416"/>
                    <a:pt x="978" y="2386"/>
                    <a:pt x="943" y="2346"/>
                  </a:cubicBezTo>
                  <a:cubicBezTo>
                    <a:pt x="909" y="2264"/>
                    <a:pt x="845" y="2247"/>
                    <a:pt x="804" y="2165"/>
                  </a:cubicBezTo>
                  <a:cubicBezTo>
                    <a:pt x="769" y="2101"/>
                    <a:pt x="769" y="2060"/>
                    <a:pt x="751" y="1996"/>
                  </a:cubicBezTo>
                  <a:cubicBezTo>
                    <a:pt x="740" y="1967"/>
                    <a:pt x="722" y="1956"/>
                    <a:pt x="711" y="1927"/>
                  </a:cubicBezTo>
                  <a:cubicBezTo>
                    <a:pt x="699" y="1897"/>
                    <a:pt x="711" y="1880"/>
                    <a:pt x="705" y="1845"/>
                  </a:cubicBezTo>
                  <a:cubicBezTo>
                    <a:pt x="699" y="1787"/>
                    <a:pt x="670" y="1758"/>
                    <a:pt x="664" y="1700"/>
                  </a:cubicBezTo>
                  <a:cubicBezTo>
                    <a:pt x="670" y="1705"/>
                    <a:pt x="670" y="1705"/>
                    <a:pt x="670" y="1705"/>
                  </a:cubicBezTo>
                  <a:cubicBezTo>
                    <a:pt x="693" y="1746"/>
                    <a:pt x="722" y="1758"/>
                    <a:pt x="757" y="1787"/>
                  </a:cubicBezTo>
                  <a:cubicBezTo>
                    <a:pt x="786" y="1810"/>
                    <a:pt x="763" y="1880"/>
                    <a:pt x="780" y="1828"/>
                  </a:cubicBezTo>
                  <a:cubicBezTo>
                    <a:pt x="798" y="1833"/>
                    <a:pt x="804" y="1839"/>
                    <a:pt x="821" y="1851"/>
                  </a:cubicBezTo>
                  <a:cubicBezTo>
                    <a:pt x="821" y="1828"/>
                    <a:pt x="821" y="1828"/>
                    <a:pt x="821" y="1828"/>
                  </a:cubicBezTo>
                  <a:cubicBezTo>
                    <a:pt x="821" y="1769"/>
                    <a:pt x="769" y="1746"/>
                    <a:pt x="746" y="1694"/>
                  </a:cubicBezTo>
                  <a:cubicBezTo>
                    <a:pt x="734" y="1659"/>
                    <a:pt x="722" y="1624"/>
                    <a:pt x="687" y="1624"/>
                  </a:cubicBezTo>
                  <a:cubicBezTo>
                    <a:pt x="687" y="1478"/>
                    <a:pt x="583" y="1420"/>
                    <a:pt x="519" y="1286"/>
                  </a:cubicBezTo>
                  <a:cubicBezTo>
                    <a:pt x="489" y="1234"/>
                    <a:pt x="449" y="1216"/>
                    <a:pt x="449" y="1158"/>
                  </a:cubicBezTo>
                  <a:cubicBezTo>
                    <a:pt x="449" y="1152"/>
                    <a:pt x="460" y="1152"/>
                    <a:pt x="460" y="1147"/>
                  </a:cubicBezTo>
                  <a:cubicBezTo>
                    <a:pt x="460" y="1059"/>
                    <a:pt x="420" y="1007"/>
                    <a:pt x="396" y="919"/>
                  </a:cubicBezTo>
                  <a:cubicBezTo>
                    <a:pt x="396" y="908"/>
                    <a:pt x="379" y="908"/>
                    <a:pt x="379" y="890"/>
                  </a:cubicBezTo>
                  <a:cubicBezTo>
                    <a:pt x="379" y="838"/>
                    <a:pt x="420" y="821"/>
                    <a:pt x="425" y="768"/>
                  </a:cubicBezTo>
                  <a:cubicBezTo>
                    <a:pt x="414" y="698"/>
                    <a:pt x="414" y="698"/>
                    <a:pt x="414" y="698"/>
                  </a:cubicBezTo>
                  <a:cubicBezTo>
                    <a:pt x="425" y="698"/>
                    <a:pt x="425" y="698"/>
                    <a:pt x="425" y="698"/>
                  </a:cubicBezTo>
                  <a:cubicBezTo>
                    <a:pt x="431" y="704"/>
                    <a:pt x="437" y="710"/>
                    <a:pt x="443" y="716"/>
                  </a:cubicBezTo>
                  <a:cubicBezTo>
                    <a:pt x="478" y="733"/>
                    <a:pt x="501" y="733"/>
                    <a:pt x="536" y="739"/>
                  </a:cubicBezTo>
                  <a:cubicBezTo>
                    <a:pt x="565" y="751"/>
                    <a:pt x="571" y="774"/>
                    <a:pt x="600" y="774"/>
                  </a:cubicBezTo>
                  <a:cubicBezTo>
                    <a:pt x="617" y="774"/>
                    <a:pt x="623" y="762"/>
                    <a:pt x="641" y="762"/>
                  </a:cubicBezTo>
                  <a:cubicBezTo>
                    <a:pt x="699" y="762"/>
                    <a:pt x="722" y="797"/>
                    <a:pt x="775" y="815"/>
                  </a:cubicBezTo>
                  <a:cubicBezTo>
                    <a:pt x="879" y="861"/>
                    <a:pt x="938" y="890"/>
                    <a:pt x="1042" y="937"/>
                  </a:cubicBezTo>
                  <a:cubicBezTo>
                    <a:pt x="1095" y="954"/>
                    <a:pt x="1130" y="984"/>
                    <a:pt x="1188" y="984"/>
                  </a:cubicBezTo>
                  <a:cubicBezTo>
                    <a:pt x="1240" y="984"/>
                    <a:pt x="1240" y="984"/>
                    <a:pt x="1240" y="984"/>
                  </a:cubicBezTo>
                  <a:cubicBezTo>
                    <a:pt x="1275" y="984"/>
                    <a:pt x="1287" y="1013"/>
                    <a:pt x="1322" y="1030"/>
                  </a:cubicBezTo>
                  <a:cubicBezTo>
                    <a:pt x="1328" y="989"/>
                    <a:pt x="1328" y="937"/>
                    <a:pt x="1368" y="937"/>
                  </a:cubicBezTo>
                  <a:cubicBezTo>
                    <a:pt x="1398" y="937"/>
                    <a:pt x="1415" y="960"/>
                    <a:pt x="1438" y="978"/>
                  </a:cubicBezTo>
                  <a:cubicBezTo>
                    <a:pt x="1473" y="1007"/>
                    <a:pt x="1485" y="1030"/>
                    <a:pt x="1514" y="1065"/>
                  </a:cubicBezTo>
                  <a:cubicBezTo>
                    <a:pt x="1526" y="1094"/>
                    <a:pt x="1462" y="937"/>
                    <a:pt x="1462" y="914"/>
                  </a:cubicBezTo>
                  <a:cubicBezTo>
                    <a:pt x="1462" y="890"/>
                    <a:pt x="1462" y="890"/>
                    <a:pt x="1462" y="890"/>
                  </a:cubicBezTo>
                  <a:cubicBezTo>
                    <a:pt x="1467" y="890"/>
                    <a:pt x="1473" y="890"/>
                    <a:pt x="1473" y="890"/>
                  </a:cubicBezTo>
                  <a:cubicBezTo>
                    <a:pt x="1508" y="890"/>
                    <a:pt x="1526" y="914"/>
                    <a:pt x="1561" y="914"/>
                  </a:cubicBezTo>
                  <a:cubicBezTo>
                    <a:pt x="1595" y="914"/>
                    <a:pt x="1607" y="873"/>
                    <a:pt x="1636" y="873"/>
                  </a:cubicBezTo>
                  <a:cubicBezTo>
                    <a:pt x="1660" y="873"/>
                    <a:pt x="1671" y="908"/>
                    <a:pt x="1694" y="908"/>
                  </a:cubicBezTo>
                  <a:cubicBezTo>
                    <a:pt x="1758" y="908"/>
                    <a:pt x="1788" y="850"/>
                    <a:pt x="1817" y="791"/>
                  </a:cubicBezTo>
                  <a:cubicBezTo>
                    <a:pt x="1852" y="809"/>
                    <a:pt x="1863" y="832"/>
                    <a:pt x="1904" y="832"/>
                  </a:cubicBezTo>
                  <a:cubicBezTo>
                    <a:pt x="1951" y="832"/>
                    <a:pt x="1986" y="797"/>
                    <a:pt x="1986" y="751"/>
                  </a:cubicBezTo>
                  <a:cubicBezTo>
                    <a:pt x="1986" y="704"/>
                    <a:pt x="2160" y="844"/>
                    <a:pt x="2160" y="885"/>
                  </a:cubicBezTo>
                  <a:cubicBezTo>
                    <a:pt x="2160" y="908"/>
                    <a:pt x="2120" y="908"/>
                    <a:pt x="2120" y="931"/>
                  </a:cubicBezTo>
                  <a:cubicBezTo>
                    <a:pt x="2120" y="937"/>
                    <a:pt x="2125" y="937"/>
                    <a:pt x="2125" y="943"/>
                  </a:cubicBezTo>
                  <a:cubicBezTo>
                    <a:pt x="2125" y="1018"/>
                    <a:pt x="2125" y="1018"/>
                    <a:pt x="2125" y="1018"/>
                  </a:cubicBezTo>
                  <a:cubicBezTo>
                    <a:pt x="2125" y="1042"/>
                    <a:pt x="2143" y="1053"/>
                    <a:pt x="2143" y="1077"/>
                  </a:cubicBezTo>
                  <a:cubicBezTo>
                    <a:pt x="2143" y="1100"/>
                    <a:pt x="2131" y="1117"/>
                    <a:pt x="2131" y="1141"/>
                  </a:cubicBezTo>
                  <a:cubicBezTo>
                    <a:pt x="2131" y="1199"/>
                    <a:pt x="2131" y="1199"/>
                    <a:pt x="2131" y="1199"/>
                  </a:cubicBezTo>
                  <a:cubicBezTo>
                    <a:pt x="2131" y="1234"/>
                    <a:pt x="2160" y="1251"/>
                    <a:pt x="2160" y="1292"/>
                  </a:cubicBezTo>
                  <a:cubicBezTo>
                    <a:pt x="2160" y="1327"/>
                    <a:pt x="2137" y="1350"/>
                    <a:pt x="2137" y="1385"/>
                  </a:cubicBezTo>
                  <a:cubicBezTo>
                    <a:pt x="2137" y="1420"/>
                    <a:pt x="2143" y="1438"/>
                    <a:pt x="2143" y="1473"/>
                  </a:cubicBezTo>
                  <a:cubicBezTo>
                    <a:pt x="2143" y="1502"/>
                    <a:pt x="2125" y="1519"/>
                    <a:pt x="2125" y="1548"/>
                  </a:cubicBezTo>
                  <a:cubicBezTo>
                    <a:pt x="2125" y="1566"/>
                    <a:pt x="2143" y="1577"/>
                    <a:pt x="2149" y="1595"/>
                  </a:cubicBezTo>
                  <a:cubicBezTo>
                    <a:pt x="2131" y="1595"/>
                    <a:pt x="2125" y="1577"/>
                    <a:pt x="2102" y="1577"/>
                  </a:cubicBezTo>
                  <a:cubicBezTo>
                    <a:pt x="2102" y="1571"/>
                    <a:pt x="2102" y="1571"/>
                    <a:pt x="2102" y="1566"/>
                  </a:cubicBezTo>
                  <a:cubicBezTo>
                    <a:pt x="2102" y="1554"/>
                    <a:pt x="2108" y="1548"/>
                    <a:pt x="2108" y="1531"/>
                  </a:cubicBezTo>
                  <a:cubicBezTo>
                    <a:pt x="2061" y="1554"/>
                    <a:pt x="2050" y="1601"/>
                    <a:pt x="2038" y="1653"/>
                  </a:cubicBezTo>
                  <a:cubicBezTo>
                    <a:pt x="2026" y="1694"/>
                    <a:pt x="2003" y="1711"/>
                    <a:pt x="2003" y="1758"/>
                  </a:cubicBezTo>
                  <a:cubicBezTo>
                    <a:pt x="2003" y="1764"/>
                    <a:pt x="2009" y="1764"/>
                    <a:pt x="2009" y="1769"/>
                  </a:cubicBezTo>
                  <a:close/>
                  <a:moveTo>
                    <a:pt x="1677" y="2386"/>
                  </a:moveTo>
                  <a:lnTo>
                    <a:pt x="1677" y="2386"/>
                  </a:lnTo>
                  <a:cubicBezTo>
                    <a:pt x="1671" y="2381"/>
                    <a:pt x="1671" y="2381"/>
                    <a:pt x="1665" y="2381"/>
                  </a:cubicBezTo>
                  <a:cubicBezTo>
                    <a:pt x="1630" y="2381"/>
                    <a:pt x="1636" y="2427"/>
                    <a:pt x="1619" y="2456"/>
                  </a:cubicBezTo>
                  <a:cubicBezTo>
                    <a:pt x="1636" y="2474"/>
                    <a:pt x="1636" y="2497"/>
                    <a:pt x="1654" y="2515"/>
                  </a:cubicBezTo>
                  <a:cubicBezTo>
                    <a:pt x="1677" y="2491"/>
                    <a:pt x="1671" y="2468"/>
                    <a:pt x="1683" y="2451"/>
                  </a:cubicBezTo>
                  <a:cubicBezTo>
                    <a:pt x="1677" y="2427"/>
                    <a:pt x="1677" y="2427"/>
                    <a:pt x="1677" y="2427"/>
                  </a:cubicBezTo>
                  <a:cubicBezTo>
                    <a:pt x="1677" y="2386"/>
                    <a:pt x="1677" y="2386"/>
                    <a:pt x="1677" y="2386"/>
                  </a:cubicBezTo>
                  <a:close/>
                  <a:moveTo>
                    <a:pt x="2055" y="1932"/>
                  </a:moveTo>
                  <a:lnTo>
                    <a:pt x="2055" y="1932"/>
                  </a:lnTo>
                  <a:cubicBezTo>
                    <a:pt x="2055" y="1927"/>
                    <a:pt x="2055" y="1927"/>
                    <a:pt x="2055" y="1927"/>
                  </a:cubicBezTo>
                  <a:cubicBezTo>
                    <a:pt x="2044" y="1921"/>
                    <a:pt x="2044" y="1921"/>
                    <a:pt x="2044" y="1921"/>
                  </a:cubicBezTo>
                  <a:cubicBezTo>
                    <a:pt x="2032" y="1944"/>
                    <a:pt x="2032" y="1956"/>
                    <a:pt x="2026" y="1973"/>
                  </a:cubicBezTo>
                  <a:cubicBezTo>
                    <a:pt x="2032" y="1973"/>
                    <a:pt x="2038" y="1979"/>
                    <a:pt x="2044" y="1979"/>
                  </a:cubicBezTo>
                  <a:cubicBezTo>
                    <a:pt x="2050" y="1979"/>
                    <a:pt x="2055" y="1973"/>
                    <a:pt x="2061" y="1973"/>
                  </a:cubicBezTo>
                  <a:cubicBezTo>
                    <a:pt x="2055" y="1932"/>
                    <a:pt x="2055" y="1932"/>
                    <a:pt x="2055" y="1932"/>
                  </a:cubicBezTo>
                  <a:close/>
                  <a:moveTo>
                    <a:pt x="513" y="669"/>
                  </a:moveTo>
                  <a:lnTo>
                    <a:pt x="513" y="669"/>
                  </a:lnTo>
                  <a:cubicBezTo>
                    <a:pt x="507" y="687"/>
                    <a:pt x="507" y="698"/>
                    <a:pt x="501" y="710"/>
                  </a:cubicBezTo>
                  <a:cubicBezTo>
                    <a:pt x="513" y="716"/>
                    <a:pt x="513" y="716"/>
                    <a:pt x="513" y="716"/>
                  </a:cubicBezTo>
                  <a:cubicBezTo>
                    <a:pt x="536" y="710"/>
                    <a:pt x="548" y="704"/>
                    <a:pt x="559" y="687"/>
                  </a:cubicBezTo>
                  <a:cubicBezTo>
                    <a:pt x="542" y="681"/>
                    <a:pt x="530" y="675"/>
                    <a:pt x="513" y="669"/>
                  </a:cubicBezTo>
                  <a:close/>
                  <a:moveTo>
                    <a:pt x="1916" y="169"/>
                  </a:moveTo>
                  <a:lnTo>
                    <a:pt x="1916" y="169"/>
                  </a:lnTo>
                  <a:cubicBezTo>
                    <a:pt x="1945" y="186"/>
                    <a:pt x="1957" y="215"/>
                    <a:pt x="1957" y="250"/>
                  </a:cubicBezTo>
                  <a:cubicBezTo>
                    <a:pt x="1957" y="256"/>
                    <a:pt x="1951" y="256"/>
                    <a:pt x="1945" y="262"/>
                  </a:cubicBezTo>
                  <a:cubicBezTo>
                    <a:pt x="1951" y="273"/>
                    <a:pt x="1951" y="273"/>
                    <a:pt x="1951" y="273"/>
                  </a:cubicBezTo>
                  <a:cubicBezTo>
                    <a:pt x="1991" y="273"/>
                    <a:pt x="1997" y="314"/>
                    <a:pt x="2015" y="355"/>
                  </a:cubicBezTo>
                  <a:cubicBezTo>
                    <a:pt x="2026" y="384"/>
                    <a:pt x="2038" y="396"/>
                    <a:pt x="2050" y="425"/>
                  </a:cubicBezTo>
                  <a:cubicBezTo>
                    <a:pt x="2073" y="419"/>
                    <a:pt x="2073" y="390"/>
                    <a:pt x="2096" y="390"/>
                  </a:cubicBezTo>
                  <a:cubicBezTo>
                    <a:pt x="2114" y="390"/>
                    <a:pt x="2125" y="396"/>
                    <a:pt x="2143" y="401"/>
                  </a:cubicBezTo>
                  <a:cubicBezTo>
                    <a:pt x="2143" y="396"/>
                    <a:pt x="2143" y="396"/>
                    <a:pt x="2143" y="384"/>
                  </a:cubicBezTo>
                  <a:cubicBezTo>
                    <a:pt x="2143" y="372"/>
                    <a:pt x="2143" y="361"/>
                    <a:pt x="2143" y="343"/>
                  </a:cubicBezTo>
                  <a:cubicBezTo>
                    <a:pt x="2137" y="343"/>
                    <a:pt x="2131" y="343"/>
                    <a:pt x="2120" y="343"/>
                  </a:cubicBezTo>
                  <a:cubicBezTo>
                    <a:pt x="2114" y="343"/>
                    <a:pt x="2114" y="337"/>
                    <a:pt x="2108" y="337"/>
                  </a:cubicBezTo>
                  <a:cubicBezTo>
                    <a:pt x="2120" y="320"/>
                    <a:pt x="2131" y="314"/>
                    <a:pt x="2131" y="297"/>
                  </a:cubicBezTo>
                  <a:cubicBezTo>
                    <a:pt x="2131" y="238"/>
                    <a:pt x="2131" y="238"/>
                    <a:pt x="2131" y="238"/>
                  </a:cubicBezTo>
                  <a:cubicBezTo>
                    <a:pt x="2044" y="238"/>
                    <a:pt x="2032" y="151"/>
                    <a:pt x="1968" y="93"/>
                  </a:cubicBezTo>
                  <a:cubicBezTo>
                    <a:pt x="1957" y="128"/>
                    <a:pt x="1945" y="151"/>
                    <a:pt x="1916" y="169"/>
                  </a:cubicBezTo>
                  <a:close/>
                  <a:moveTo>
                    <a:pt x="2084" y="483"/>
                  </a:moveTo>
                  <a:lnTo>
                    <a:pt x="2084" y="483"/>
                  </a:lnTo>
                  <a:cubicBezTo>
                    <a:pt x="2073" y="483"/>
                    <a:pt x="2061" y="477"/>
                    <a:pt x="2050" y="477"/>
                  </a:cubicBezTo>
                  <a:cubicBezTo>
                    <a:pt x="2026" y="477"/>
                    <a:pt x="2003" y="495"/>
                    <a:pt x="2003" y="512"/>
                  </a:cubicBezTo>
                  <a:cubicBezTo>
                    <a:pt x="2026" y="529"/>
                    <a:pt x="2044" y="535"/>
                    <a:pt x="2073" y="535"/>
                  </a:cubicBezTo>
                  <a:cubicBezTo>
                    <a:pt x="2096" y="535"/>
                    <a:pt x="2114" y="529"/>
                    <a:pt x="2137" y="518"/>
                  </a:cubicBezTo>
                  <a:cubicBezTo>
                    <a:pt x="2149" y="529"/>
                    <a:pt x="2154" y="541"/>
                    <a:pt x="2166" y="559"/>
                  </a:cubicBezTo>
                  <a:cubicBezTo>
                    <a:pt x="2183" y="547"/>
                    <a:pt x="2195" y="541"/>
                    <a:pt x="2213" y="524"/>
                  </a:cubicBezTo>
                  <a:cubicBezTo>
                    <a:pt x="2195" y="500"/>
                    <a:pt x="2183" y="483"/>
                    <a:pt x="2172" y="454"/>
                  </a:cubicBezTo>
                  <a:cubicBezTo>
                    <a:pt x="2160" y="448"/>
                    <a:pt x="2160" y="448"/>
                    <a:pt x="2160" y="448"/>
                  </a:cubicBezTo>
                  <a:cubicBezTo>
                    <a:pt x="2143" y="477"/>
                    <a:pt x="2114" y="483"/>
                    <a:pt x="2084" y="483"/>
                  </a:cubicBezTo>
                  <a:close/>
                  <a:moveTo>
                    <a:pt x="2067" y="599"/>
                  </a:moveTo>
                  <a:lnTo>
                    <a:pt x="2067" y="599"/>
                  </a:lnTo>
                  <a:cubicBezTo>
                    <a:pt x="2067" y="605"/>
                    <a:pt x="2067" y="611"/>
                    <a:pt x="2067" y="617"/>
                  </a:cubicBezTo>
                  <a:cubicBezTo>
                    <a:pt x="2090" y="611"/>
                    <a:pt x="2102" y="599"/>
                    <a:pt x="2114" y="582"/>
                  </a:cubicBezTo>
                  <a:cubicBezTo>
                    <a:pt x="2096" y="576"/>
                    <a:pt x="2067" y="582"/>
                    <a:pt x="2067" y="599"/>
                  </a:cubicBezTo>
                  <a:close/>
                  <a:moveTo>
                    <a:pt x="483" y="541"/>
                  </a:moveTo>
                  <a:lnTo>
                    <a:pt x="483" y="541"/>
                  </a:lnTo>
                  <a:cubicBezTo>
                    <a:pt x="536" y="541"/>
                    <a:pt x="536" y="541"/>
                    <a:pt x="536" y="541"/>
                  </a:cubicBezTo>
                  <a:cubicBezTo>
                    <a:pt x="536" y="529"/>
                    <a:pt x="536" y="524"/>
                    <a:pt x="536" y="506"/>
                  </a:cubicBezTo>
                  <a:cubicBezTo>
                    <a:pt x="513" y="512"/>
                    <a:pt x="501" y="529"/>
                    <a:pt x="483" y="541"/>
                  </a:cubicBezTo>
                  <a:close/>
                  <a:moveTo>
                    <a:pt x="82" y="23"/>
                  </a:moveTo>
                  <a:lnTo>
                    <a:pt x="82" y="23"/>
                  </a:lnTo>
                  <a:cubicBezTo>
                    <a:pt x="76" y="17"/>
                    <a:pt x="70" y="11"/>
                    <a:pt x="59" y="6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17"/>
                    <a:pt x="59" y="29"/>
                    <a:pt x="53" y="46"/>
                  </a:cubicBezTo>
                  <a:cubicBezTo>
                    <a:pt x="41" y="64"/>
                    <a:pt x="12" y="58"/>
                    <a:pt x="12" y="75"/>
                  </a:cubicBezTo>
                  <a:cubicBezTo>
                    <a:pt x="12" y="93"/>
                    <a:pt x="24" y="99"/>
                    <a:pt x="24" y="116"/>
                  </a:cubicBezTo>
                  <a:cubicBezTo>
                    <a:pt x="24" y="145"/>
                    <a:pt x="0" y="157"/>
                    <a:pt x="0" y="186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12" y="209"/>
                    <a:pt x="18" y="209"/>
                    <a:pt x="29" y="209"/>
                  </a:cubicBezTo>
                  <a:cubicBezTo>
                    <a:pt x="29" y="326"/>
                    <a:pt x="29" y="326"/>
                    <a:pt x="29" y="326"/>
                  </a:cubicBezTo>
                  <a:cubicBezTo>
                    <a:pt x="29" y="326"/>
                    <a:pt x="35" y="332"/>
                    <a:pt x="41" y="332"/>
                  </a:cubicBezTo>
                  <a:cubicBezTo>
                    <a:pt x="59" y="332"/>
                    <a:pt x="59" y="314"/>
                    <a:pt x="70" y="302"/>
                  </a:cubicBezTo>
                  <a:cubicBezTo>
                    <a:pt x="105" y="285"/>
                    <a:pt x="134" y="262"/>
                    <a:pt x="134" y="221"/>
                  </a:cubicBezTo>
                  <a:cubicBezTo>
                    <a:pt x="134" y="180"/>
                    <a:pt x="117" y="163"/>
                    <a:pt x="117" y="128"/>
                  </a:cubicBezTo>
                  <a:cubicBezTo>
                    <a:pt x="117" y="99"/>
                    <a:pt x="128" y="81"/>
                    <a:pt x="128" y="46"/>
                  </a:cubicBezTo>
                  <a:cubicBezTo>
                    <a:pt x="128" y="29"/>
                    <a:pt x="99" y="29"/>
                    <a:pt x="82" y="23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0A0096DF-E8DC-21E9-D1A3-96A5275EC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ap: Australia</a:t>
            </a:r>
          </a:p>
        </p:txBody>
      </p:sp>
      <p:grpSp>
        <p:nvGrpSpPr>
          <p:cNvPr id="7" name="Gruppieren 96">
            <a:extLst>
              <a:ext uri="{FF2B5EF4-FFF2-40B4-BE49-F238E27FC236}">
                <a16:creationId xmlns:a16="http://schemas.microsoft.com/office/drawing/2014/main" id="{7B3D020E-40B7-4E6F-23AE-618EF578FED7}"/>
              </a:ext>
            </a:extLst>
          </p:cNvPr>
          <p:cNvGrpSpPr>
            <a:grpSpLocks/>
          </p:cNvGrpSpPr>
          <p:nvPr/>
        </p:nvGrpSpPr>
        <p:grpSpPr>
          <a:xfrm>
            <a:off x="7821408" y="4357016"/>
            <a:ext cx="304976" cy="304976"/>
            <a:chOff x="3476538" y="3554481"/>
            <a:chExt cx="828675" cy="828675"/>
          </a:xfrm>
        </p:grpSpPr>
        <p:sp>
          <p:nvSpPr>
            <p:cNvPr id="18" name="Träne 97">
              <a:extLst>
                <a:ext uri="{FF2B5EF4-FFF2-40B4-BE49-F238E27FC236}">
                  <a16:creationId xmlns:a16="http://schemas.microsoft.com/office/drawing/2014/main" id="{2A27950F-12F4-7011-D84B-CDB9947CD5EE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Ellipse 98">
              <a:extLst>
                <a:ext uri="{FF2B5EF4-FFF2-40B4-BE49-F238E27FC236}">
                  <a16:creationId xmlns:a16="http://schemas.microsoft.com/office/drawing/2014/main" id="{82346FCB-2CE2-3ADB-4E35-667137DB403A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B59FDFD2-A34F-7186-DB83-394B3DD4A594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ontinen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Oceania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b="1">
              <a:solidFill>
                <a:schemeClr val="accent1"/>
              </a:solidFill>
              <a:sym typeface="Futura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apital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Canberra</a:t>
            </a:r>
          </a:p>
          <a:p>
            <a:pPr>
              <a:spcBef>
                <a:spcPts val="0"/>
              </a:spcBef>
            </a:pPr>
            <a:endParaRPr lang="en-US" sz="1400"/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</a:rPr>
              <a:t>Official language(s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English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727AAE24-D74D-7A0D-74D9-9D500105743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</a:t>
            </a:r>
          </a:p>
        </p:txBody>
      </p:sp>
    </p:spTree>
    <p:extLst>
      <p:ext uri="{BB962C8B-B14F-4D97-AF65-F5344CB8AC3E}">
        <p14:creationId xmlns:p14="http://schemas.microsoft.com/office/powerpoint/2010/main" val="4103584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